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0"/>
  </p:notesMasterIdLst>
  <p:handoutMasterIdLst>
    <p:handoutMasterId r:id="rId51"/>
  </p:handoutMasterIdLst>
  <p:sldIdLst>
    <p:sldId id="751" r:id="rId5"/>
    <p:sldId id="745" r:id="rId6"/>
    <p:sldId id="662" r:id="rId7"/>
    <p:sldId id="746" r:id="rId8"/>
    <p:sldId id="752" r:id="rId9"/>
    <p:sldId id="749" r:id="rId10"/>
    <p:sldId id="750" r:id="rId11"/>
    <p:sldId id="747" r:id="rId12"/>
    <p:sldId id="753" r:id="rId13"/>
    <p:sldId id="754" r:id="rId14"/>
    <p:sldId id="755" r:id="rId15"/>
    <p:sldId id="756" r:id="rId16"/>
    <p:sldId id="757" r:id="rId17"/>
    <p:sldId id="758" r:id="rId18"/>
    <p:sldId id="759" r:id="rId19"/>
    <p:sldId id="760" r:id="rId20"/>
    <p:sldId id="761" r:id="rId21"/>
    <p:sldId id="762" r:id="rId22"/>
    <p:sldId id="763" r:id="rId23"/>
    <p:sldId id="765" r:id="rId24"/>
    <p:sldId id="764" r:id="rId25"/>
    <p:sldId id="766" r:id="rId26"/>
    <p:sldId id="767" r:id="rId27"/>
    <p:sldId id="768" r:id="rId28"/>
    <p:sldId id="769" r:id="rId29"/>
    <p:sldId id="770" r:id="rId30"/>
    <p:sldId id="771" r:id="rId31"/>
    <p:sldId id="772" r:id="rId32"/>
    <p:sldId id="773" r:id="rId33"/>
    <p:sldId id="777" r:id="rId34"/>
    <p:sldId id="778" r:id="rId35"/>
    <p:sldId id="779" r:id="rId36"/>
    <p:sldId id="780" r:id="rId37"/>
    <p:sldId id="781" r:id="rId38"/>
    <p:sldId id="774" r:id="rId39"/>
    <p:sldId id="776" r:id="rId40"/>
    <p:sldId id="782" r:id="rId41"/>
    <p:sldId id="783" r:id="rId42"/>
    <p:sldId id="784" r:id="rId43"/>
    <p:sldId id="786" r:id="rId44"/>
    <p:sldId id="785" r:id="rId45"/>
    <p:sldId id="787" r:id="rId46"/>
    <p:sldId id="788" r:id="rId47"/>
    <p:sldId id="789" r:id="rId48"/>
    <p:sldId id="790" r:id="rId49"/>
  </p:sldIdLst>
  <p:sldSz cx="12192000" cy="6858000"/>
  <p:notesSz cx="6858000" cy="9144000"/>
  <p:custDataLst>
    <p:tags r:id="rId5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Page" id="{4D50745A-C614-4F86-BE7A-8EFC6A13C1B6}">
          <p14:sldIdLst>
            <p14:sldId id="751"/>
          </p14:sldIdLst>
        </p14:section>
        <p14:section name="Login" id="{D67690C1-D57B-4616-A1BB-C42522D9CA77}">
          <p14:sldIdLst>
            <p14:sldId id="745"/>
            <p14:sldId id="662"/>
          </p14:sldIdLst>
        </p14:section>
        <p14:section name="Suppliers" id="{B1A76F78-BC45-4B3B-96A0-6657AC72A204}">
          <p14:sldIdLst>
            <p14:sldId id="746"/>
            <p14:sldId id="752"/>
            <p14:sldId id="749"/>
          </p14:sldIdLst>
        </p14:section>
        <p14:section name="Solutions" id="{4E38D9E9-44B2-4B8E-B00F-0052C2BF1EBC}">
          <p14:sldIdLst>
            <p14:sldId id="750"/>
            <p14:sldId id="747"/>
            <p14:sldId id="753"/>
            <p14:sldId id="754"/>
            <p14:sldId id="755"/>
            <p14:sldId id="756"/>
            <p14:sldId id="757"/>
            <p14:sldId id="758"/>
            <p14:sldId id="759"/>
            <p14:sldId id="760"/>
            <p14:sldId id="761"/>
            <p14:sldId id="762"/>
            <p14:sldId id="763"/>
          </p14:sldIdLst>
        </p14:section>
        <p14:section name="Skills" id="{0EA86702-5A13-4243-8E5C-66E0B431FBAE}">
          <p14:sldIdLst>
            <p14:sldId id="765"/>
            <p14:sldId id="764"/>
            <p14:sldId id="766"/>
          </p14:sldIdLst>
        </p14:section>
        <p14:section name="Tags" id="{BF79B3D6-5535-4C2A-B76F-1025B85BD050}">
          <p14:sldIdLst>
            <p14:sldId id="767"/>
            <p14:sldId id="768"/>
            <p14:sldId id="769"/>
          </p14:sldIdLst>
        </p14:section>
        <p14:section name="Functionalities" id="{018D036C-0915-4953-B7C0-9D414723D935}">
          <p14:sldIdLst>
            <p14:sldId id="770"/>
            <p14:sldId id="771"/>
            <p14:sldId id="772"/>
          </p14:sldIdLst>
        </p14:section>
        <p14:section name="SMEs" id="{EB35FC45-48F8-4C8B-BB1D-05B38CE83B91}">
          <p14:sldIdLst>
            <p14:sldId id="773"/>
            <p14:sldId id="777"/>
            <p14:sldId id="778"/>
            <p14:sldId id="779"/>
            <p14:sldId id="780"/>
            <p14:sldId id="781"/>
          </p14:sldIdLst>
        </p14:section>
        <p14:section name="Searches" id="{C1818AC5-8092-416F-ABCF-B1B69823A2D5}">
          <p14:sldIdLst>
            <p14:sldId id="774"/>
            <p14:sldId id="776"/>
            <p14:sldId id="782"/>
            <p14:sldId id="783"/>
            <p14:sldId id="784"/>
            <p14:sldId id="786"/>
            <p14:sldId id="785"/>
            <p14:sldId id="787"/>
            <p14:sldId id="788"/>
            <p14:sldId id="789"/>
            <p14:sldId id="79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0A3BC05-1FFC-54A7-6E45-5E203E6F6C61}" name="Francisco Treviño" initials="FT" userId="abe7146e798f448e" providerId="Windows Live"/>
  <p188:author id="{5750BA68-6330-26EB-12F1-DACDCE92B8BC}" name="Fernando Hernández" initials="FH" userId="S::fernando.hernandez@nsg-engineering.com::3f699b9a-b14d-42c9-81d4-d19b9270c26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uis Fernando Hernández Palacios" initials="LFHP" lastIdx="20" clrIdx="0">
    <p:extLst>
      <p:ext uri="{19B8F6BF-5375-455C-9EA6-DF929625EA0E}">
        <p15:presenceInfo xmlns:p15="http://schemas.microsoft.com/office/powerpoint/2012/main" userId="Luis Fernando Hernández Palacios" providerId="None"/>
      </p:ext>
    </p:extLst>
  </p:cmAuthor>
  <p:cmAuthor id="2" name="Fernando Hernández" initials="FH" lastIdx="2" clrIdx="1">
    <p:extLst>
      <p:ext uri="{19B8F6BF-5375-455C-9EA6-DF929625EA0E}">
        <p15:presenceInfo xmlns:p15="http://schemas.microsoft.com/office/powerpoint/2012/main" userId="S::fernando.hernandez@nsg-engineering.com::3f699b9a-b14d-42c9-81d4-d19b9270c2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52847"/>
    <a:srgbClr val="E9EBF5"/>
    <a:srgbClr val="CFD5EA"/>
    <a:srgbClr val="714B67"/>
    <a:srgbClr val="2F497D"/>
    <a:srgbClr val="2A4884"/>
    <a:srgbClr val="F1F3F2"/>
    <a:srgbClr val="6D6E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BE4227-F304-426D-84C4-5A5A85A14773}" v="328" dt="2023-08-03T03:03:31.632"/>
    <p1510:client id="{97D938C7-5D03-44B5-AF06-85F2285E6FD2}" v="330" dt="2023-08-03T02:26:11.1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17" autoAdjust="0"/>
    <p:restoredTop sz="94660"/>
  </p:normalViewPr>
  <p:slideViewPr>
    <p:cSldViewPr snapToGrid="0">
      <p:cViewPr varScale="1">
        <p:scale>
          <a:sx n="105" d="100"/>
          <a:sy n="105" d="100"/>
        </p:scale>
        <p:origin x="1002" y="9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commentAuthors" Target="commentAuthors.xml"/><Relationship Id="rId58" Type="http://schemas.microsoft.com/office/2016/11/relationships/changesInfo" Target="changesInfos/changesInfo1.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gs" Target="tags/tag1.xml"/><Relationship Id="rId6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isco Treviño" userId="abe7146e798f448e" providerId="LiveId" clId="{A520D37C-AB97-494C-A932-061AA8309BD0}"/>
    <pc:docChg chg="undo custSel addSld delSld modSld sldOrd modSection">
      <pc:chgData name="Francisco Treviño" userId="abe7146e798f448e" providerId="LiveId" clId="{A520D37C-AB97-494C-A932-061AA8309BD0}" dt="2023-07-27T09:09:48.224" v="70" actId="47"/>
      <pc:docMkLst>
        <pc:docMk/>
      </pc:docMkLst>
      <pc:sldChg chg="addSp delSp mod addAnim delAnim">
        <pc:chgData name="Francisco Treviño" userId="abe7146e798f448e" providerId="LiveId" clId="{A520D37C-AB97-494C-A932-061AA8309BD0}" dt="2023-07-27T09:05:57.688" v="18" actId="478"/>
        <pc:sldMkLst>
          <pc:docMk/>
          <pc:sldMk cId="1488874240" sldId="719"/>
        </pc:sldMkLst>
        <pc:spChg chg="del">
          <ac:chgData name="Francisco Treviño" userId="abe7146e798f448e" providerId="LiveId" clId="{A520D37C-AB97-494C-A932-061AA8309BD0}" dt="2023-07-27T09:05:45.332" v="10" actId="478"/>
          <ac:spMkLst>
            <pc:docMk/>
            <pc:sldMk cId="1488874240" sldId="719"/>
            <ac:spMk id="18" creationId="{FAB1A92C-B244-40AF-D177-FF6AF2C35B97}"/>
          </ac:spMkLst>
        </pc:spChg>
        <pc:spChg chg="del">
          <ac:chgData name="Francisco Treviño" userId="abe7146e798f448e" providerId="LiveId" clId="{A520D37C-AB97-494C-A932-061AA8309BD0}" dt="2023-07-27T09:05:48.127" v="11" actId="478"/>
          <ac:spMkLst>
            <pc:docMk/>
            <pc:sldMk cId="1488874240" sldId="719"/>
            <ac:spMk id="19" creationId="{873C8093-5ED1-5FEB-EADA-4ABEAC09AD81}"/>
          </ac:spMkLst>
        </pc:spChg>
        <pc:spChg chg="del">
          <ac:chgData name="Francisco Treviño" userId="abe7146e798f448e" providerId="LiveId" clId="{A520D37C-AB97-494C-A932-061AA8309BD0}" dt="2023-07-27T09:05:48.127" v="11" actId="478"/>
          <ac:spMkLst>
            <pc:docMk/>
            <pc:sldMk cId="1488874240" sldId="719"/>
            <ac:spMk id="20" creationId="{2BFABDCF-DE8E-E77A-0273-101D5924FC1D}"/>
          </ac:spMkLst>
        </pc:spChg>
        <pc:spChg chg="del">
          <ac:chgData name="Francisco Treviño" userId="abe7146e798f448e" providerId="LiveId" clId="{A520D37C-AB97-494C-A932-061AA8309BD0}" dt="2023-07-27T09:05:48.127" v="11" actId="478"/>
          <ac:spMkLst>
            <pc:docMk/>
            <pc:sldMk cId="1488874240" sldId="719"/>
            <ac:spMk id="21" creationId="{FDBC99C4-1CCF-7730-1F5C-C93D027DB925}"/>
          </ac:spMkLst>
        </pc:spChg>
        <pc:spChg chg="del">
          <ac:chgData name="Francisco Treviño" userId="abe7146e798f448e" providerId="LiveId" clId="{A520D37C-AB97-494C-A932-061AA8309BD0}" dt="2023-07-27T09:05:48.127" v="11" actId="478"/>
          <ac:spMkLst>
            <pc:docMk/>
            <pc:sldMk cId="1488874240" sldId="719"/>
            <ac:spMk id="22" creationId="{C340780B-7C4B-BA61-E2FF-63BD26BDCF66}"/>
          </ac:spMkLst>
        </pc:spChg>
        <pc:spChg chg="add del">
          <ac:chgData name="Francisco Treviño" userId="abe7146e798f448e" providerId="LiveId" clId="{A520D37C-AB97-494C-A932-061AA8309BD0}" dt="2023-07-27T09:05:57.688" v="18" actId="478"/>
          <ac:spMkLst>
            <pc:docMk/>
            <pc:sldMk cId="1488874240" sldId="719"/>
            <ac:spMk id="23" creationId="{C5E5C546-1A6A-0C98-6567-65B4A620E83A}"/>
          </ac:spMkLst>
        </pc:spChg>
        <pc:spChg chg="del">
          <ac:chgData name="Francisco Treviño" userId="abe7146e798f448e" providerId="LiveId" clId="{A520D37C-AB97-494C-A932-061AA8309BD0}" dt="2023-07-27T09:05:54.517" v="16" actId="478"/>
          <ac:spMkLst>
            <pc:docMk/>
            <pc:sldMk cId="1488874240" sldId="719"/>
            <ac:spMk id="25" creationId="{981E0953-0FFE-BDA0-610C-B61A80D4282E}"/>
          </ac:spMkLst>
        </pc:spChg>
        <pc:spChg chg="del">
          <ac:chgData name="Francisco Treviño" userId="abe7146e798f448e" providerId="LiveId" clId="{A520D37C-AB97-494C-A932-061AA8309BD0}" dt="2023-07-27T09:05:53.556" v="15" actId="478"/>
          <ac:spMkLst>
            <pc:docMk/>
            <pc:sldMk cId="1488874240" sldId="719"/>
            <ac:spMk id="26" creationId="{62D7527B-D28B-2167-4786-7BA4C7622619}"/>
          </ac:spMkLst>
        </pc:spChg>
        <pc:spChg chg="del">
          <ac:chgData name="Francisco Treviño" userId="abe7146e798f448e" providerId="LiveId" clId="{A520D37C-AB97-494C-A932-061AA8309BD0}" dt="2023-07-27T09:05:52.617" v="14" actId="478"/>
          <ac:spMkLst>
            <pc:docMk/>
            <pc:sldMk cId="1488874240" sldId="719"/>
            <ac:spMk id="27" creationId="{9C440049-895C-753F-F99D-BAFCA34D88F6}"/>
          </ac:spMkLst>
        </pc:spChg>
        <pc:spChg chg="del">
          <ac:chgData name="Francisco Treviño" userId="abe7146e798f448e" providerId="LiveId" clId="{A520D37C-AB97-494C-A932-061AA8309BD0}" dt="2023-07-27T09:05:51.583" v="13" actId="478"/>
          <ac:spMkLst>
            <pc:docMk/>
            <pc:sldMk cId="1488874240" sldId="719"/>
            <ac:spMk id="28" creationId="{3FBA5A7F-9FED-A77E-F19D-C2291CAA031D}"/>
          </ac:spMkLst>
        </pc:spChg>
        <pc:spChg chg="del">
          <ac:chgData name="Francisco Treviño" userId="abe7146e798f448e" providerId="LiveId" clId="{A520D37C-AB97-494C-A932-061AA8309BD0}" dt="2023-07-27T09:05:49.965" v="12" actId="478"/>
          <ac:spMkLst>
            <pc:docMk/>
            <pc:sldMk cId="1488874240" sldId="719"/>
            <ac:spMk id="29" creationId="{6651153D-9B0C-7495-7915-CC2CC881A478}"/>
          </ac:spMkLst>
        </pc:spChg>
      </pc:sldChg>
      <pc:sldChg chg="delSp mod delAnim">
        <pc:chgData name="Francisco Treviño" userId="abe7146e798f448e" providerId="LiveId" clId="{A520D37C-AB97-494C-A932-061AA8309BD0}" dt="2023-07-27T09:07:23.433" v="36" actId="478"/>
        <pc:sldMkLst>
          <pc:docMk/>
          <pc:sldMk cId="1607137568" sldId="722"/>
        </pc:sldMkLst>
        <pc:spChg chg="del">
          <ac:chgData name="Francisco Treviño" userId="abe7146e798f448e" providerId="LiveId" clId="{A520D37C-AB97-494C-A932-061AA8309BD0}" dt="2023-07-27T09:07:23.433" v="36" actId="478"/>
          <ac:spMkLst>
            <pc:docMk/>
            <pc:sldMk cId="1607137568" sldId="722"/>
            <ac:spMk id="75" creationId="{F9D7FC37-D5AF-6782-E5DB-520E7830C3D4}"/>
          </ac:spMkLst>
        </pc:spChg>
        <pc:spChg chg="del">
          <ac:chgData name="Francisco Treviño" userId="abe7146e798f448e" providerId="LiveId" clId="{A520D37C-AB97-494C-A932-061AA8309BD0}" dt="2023-07-27T09:07:23.433" v="36" actId="478"/>
          <ac:spMkLst>
            <pc:docMk/>
            <pc:sldMk cId="1607137568" sldId="722"/>
            <ac:spMk id="78" creationId="{EA58E996-10FA-0E45-69C4-EC929E82A66B}"/>
          </ac:spMkLst>
        </pc:spChg>
        <pc:spChg chg="del">
          <ac:chgData name="Francisco Treviño" userId="abe7146e798f448e" providerId="LiveId" clId="{A520D37C-AB97-494C-A932-061AA8309BD0}" dt="2023-07-27T09:07:23.433" v="36" actId="478"/>
          <ac:spMkLst>
            <pc:docMk/>
            <pc:sldMk cId="1607137568" sldId="722"/>
            <ac:spMk id="79" creationId="{0496E67B-1801-D0D2-AB59-52AA8764F0D9}"/>
          </ac:spMkLst>
        </pc:spChg>
        <pc:spChg chg="del">
          <ac:chgData name="Francisco Treviño" userId="abe7146e798f448e" providerId="LiveId" clId="{A520D37C-AB97-494C-A932-061AA8309BD0}" dt="2023-07-27T09:07:23.433" v="36" actId="478"/>
          <ac:spMkLst>
            <pc:docMk/>
            <pc:sldMk cId="1607137568" sldId="722"/>
            <ac:spMk id="80" creationId="{E719E77F-EC4C-3016-CD28-029C9585F651}"/>
          </ac:spMkLst>
        </pc:spChg>
        <pc:spChg chg="del">
          <ac:chgData name="Francisco Treviño" userId="abe7146e798f448e" providerId="LiveId" clId="{A520D37C-AB97-494C-A932-061AA8309BD0}" dt="2023-07-27T09:07:23.433" v="36" actId="478"/>
          <ac:spMkLst>
            <pc:docMk/>
            <pc:sldMk cId="1607137568" sldId="722"/>
            <ac:spMk id="81" creationId="{C03DC27F-A1B6-39B1-54C6-AF0A2E023ECE}"/>
          </ac:spMkLst>
        </pc:spChg>
        <pc:spChg chg="del">
          <ac:chgData name="Francisco Treviño" userId="abe7146e798f448e" providerId="LiveId" clId="{A520D37C-AB97-494C-A932-061AA8309BD0}" dt="2023-07-27T09:07:23.433" v="36" actId="478"/>
          <ac:spMkLst>
            <pc:docMk/>
            <pc:sldMk cId="1607137568" sldId="722"/>
            <ac:spMk id="82" creationId="{2D16026E-380F-59CA-C4FF-82DD1D8F1226}"/>
          </ac:spMkLst>
        </pc:spChg>
        <pc:spChg chg="del">
          <ac:chgData name="Francisco Treviño" userId="abe7146e798f448e" providerId="LiveId" clId="{A520D37C-AB97-494C-A932-061AA8309BD0}" dt="2023-07-27T09:07:23.433" v="36" actId="478"/>
          <ac:spMkLst>
            <pc:docMk/>
            <pc:sldMk cId="1607137568" sldId="722"/>
            <ac:spMk id="83" creationId="{EFFC6259-F821-3956-DE5E-8DCF9146FD05}"/>
          </ac:spMkLst>
        </pc:spChg>
        <pc:spChg chg="del">
          <ac:chgData name="Francisco Treviño" userId="abe7146e798f448e" providerId="LiveId" clId="{A520D37C-AB97-494C-A932-061AA8309BD0}" dt="2023-07-27T09:07:23.433" v="36" actId="478"/>
          <ac:spMkLst>
            <pc:docMk/>
            <pc:sldMk cId="1607137568" sldId="722"/>
            <ac:spMk id="84" creationId="{8CE55547-AE40-EE8A-57BE-CDFC4BC3CC0B}"/>
          </ac:spMkLst>
        </pc:spChg>
      </pc:sldChg>
      <pc:sldChg chg="delSp mod delAnim modAnim">
        <pc:chgData name="Francisco Treviño" userId="abe7146e798f448e" providerId="LiveId" clId="{A520D37C-AB97-494C-A932-061AA8309BD0}" dt="2023-07-27T09:05:16.198" v="4" actId="478"/>
        <pc:sldMkLst>
          <pc:docMk/>
          <pc:sldMk cId="3998343956" sldId="756"/>
        </pc:sldMkLst>
        <pc:spChg chg="del">
          <ac:chgData name="Francisco Treviño" userId="abe7146e798f448e" providerId="LiveId" clId="{A520D37C-AB97-494C-A932-061AA8309BD0}" dt="2023-07-27T09:05:12.008" v="2" actId="478"/>
          <ac:spMkLst>
            <pc:docMk/>
            <pc:sldMk cId="3998343956" sldId="756"/>
            <ac:spMk id="10" creationId="{1FBC402D-4A67-9741-AFB9-72CC0AFF6678}"/>
          </ac:spMkLst>
        </pc:spChg>
        <pc:spChg chg="del">
          <ac:chgData name="Francisco Treviño" userId="abe7146e798f448e" providerId="LiveId" clId="{A520D37C-AB97-494C-A932-061AA8309BD0}" dt="2023-07-27T09:05:12.008" v="2" actId="478"/>
          <ac:spMkLst>
            <pc:docMk/>
            <pc:sldMk cId="3998343956" sldId="756"/>
            <ac:spMk id="11" creationId="{6486570C-B474-0617-F1C4-B7CB5FB066E1}"/>
          </ac:spMkLst>
        </pc:spChg>
        <pc:spChg chg="del">
          <ac:chgData name="Francisco Treviño" userId="abe7146e798f448e" providerId="LiveId" clId="{A520D37C-AB97-494C-A932-061AA8309BD0}" dt="2023-07-27T09:05:12.008" v="2" actId="478"/>
          <ac:spMkLst>
            <pc:docMk/>
            <pc:sldMk cId="3998343956" sldId="756"/>
            <ac:spMk id="12" creationId="{46A7F5AA-CFB5-8E11-E8DF-E6468601C683}"/>
          </ac:spMkLst>
        </pc:spChg>
        <pc:spChg chg="del">
          <ac:chgData name="Francisco Treviño" userId="abe7146e798f448e" providerId="LiveId" clId="{A520D37C-AB97-494C-A932-061AA8309BD0}" dt="2023-07-27T09:05:08.894" v="1" actId="478"/>
          <ac:spMkLst>
            <pc:docMk/>
            <pc:sldMk cId="3998343956" sldId="756"/>
            <ac:spMk id="17" creationId="{DD26EB59-C42E-CF44-E041-079B212A954F}"/>
          </ac:spMkLst>
        </pc:spChg>
        <pc:spChg chg="del">
          <ac:chgData name="Francisco Treviño" userId="abe7146e798f448e" providerId="LiveId" clId="{A520D37C-AB97-494C-A932-061AA8309BD0}" dt="2023-07-27T09:05:12.008" v="2" actId="478"/>
          <ac:spMkLst>
            <pc:docMk/>
            <pc:sldMk cId="3998343956" sldId="756"/>
            <ac:spMk id="18" creationId="{C485E750-2112-7912-016B-0875C909586B}"/>
          </ac:spMkLst>
        </pc:spChg>
        <pc:spChg chg="del">
          <ac:chgData name="Francisco Treviño" userId="abe7146e798f448e" providerId="LiveId" clId="{A520D37C-AB97-494C-A932-061AA8309BD0}" dt="2023-07-27T09:05:12.008" v="2" actId="478"/>
          <ac:spMkLst>
            <pc:docMk/>
            <pc:sldMk cId="3998343956" sldId="756"/>
            <ac:spMk id="19" creationId="{B41A0E60-EFE6-4EF5-A472-F65D3DE9FFD3}"/>
          </ac:spMkLst>
        </pc:spChg>
        <pc:spChg chg="del">
          <ac:chgData name="Francisco Treviño" userId="abe7146e798f448e" providerId="LiveId" clId="{A520D37C-AB97-494C-A932-061AA8309BD0}" dt="2023-07-27T09:05:12.008" v="2" actId="478"/>
          <ac:spMkLst>
            <pc:docMk/>
            <pc:sldMk cId="3998343956" sldId="756"/>
            <ac:spMk id="20" creationId="{C1CA36F8-6BE9-228D-1425-D41D2EFC38A6}"/>
          </ac:spMkLst>
        </pc:spChg>
        <pc:spChg chg="del">
          <ac:chgData name="Francisco Treviño" userId="abe7146e798f448e" providerId="LiveId" clId="{A520D37C-AB97-494C-A932-061AA8309BD0}" dt="2023-07-27T09:05:13.988" v="3" actId="478"/>
          <ac:spMkLst>
            <pc:docMk/>
            <pc:sldMk cId="3998343956" sldId="756"/>
            <ac:spMk id="25" creationId="{7D1C5C4F-A5B8-FC3D-C0D9-1E39C9ABBCAB}"/>
          </ac:spMkLst>
        </pc:spChg>
        <pc:spChg chg="del">
          <ac:chgData name="Francisco Treviño" userId="abe7146e798f448e" providerId="LiveId" clId="{A520D37C-AB97-494C-A932-061AA8309BD0}" dt="2023-07-27T09:05:16.198" v="4" actId="478"/>
          <ac:spMkLst>
            <pc:docMk/>
            <pc:sldMk cId="3998343956" sldId="756"/>
            <ac:spMk id="26" creationId="{E5A84206-CA1F-270A-7EA6-7E4A8E125B78}"/>
          </ac:spMkLst>
        </pc:spChg>
        <pc:spChg chg="del">
          <ac:chgData name="Francisco Treviño" userId="abe7146e798f448e" providerId="LiveId" clId="{A520D37C-AB97-494C-A932-061AA8309BD0}" dt="2023-07-27T09:05:16.198" v="4" actId="478"/>
          <ac:spMkLst>
            <pc:docMk/>
            <pc:sldMk cId="3998343956" sldId="756"/>
            <ac:spMk id="27" creationId="{74336A70-3DB8-CB77-7717-14F32277B3A2}"/>
          </ac:spMkLst>
        </pc:spChg>
        <pc:spChg chg="del">
          <ac:chgData name="Francisco Treviño" userId="abe7146e798f448e" providerId="LiveId" clId="{A520D37C-AB97-494C-A932-061AA8309BD0}" dt="2023-07-27T09:05:12.008" v="2" actId="478"/>
          <ac:spMkLst>
            <pc:docMk/>
            <pc:sldMk cId="3998343956" sldId="756"/>
            <ac:spMk id="32" creationId="{623045A2-7408-7309-5114-EC962F97CFC7}"/>
          </ac:spMkLst>
        </pc:spChg>
        <pc:spChg chg="del">
          <ac:chgData name="Francisco Treviño" userId="abe7146e798f448e" providerId="LiveId" clId="{A520D37C-AB97-494C-A932-061AA8309BD0}" dt="2023-07-27T09:05:12.008" v="2" actId="478"/>
          <ac:spMkLst>
            <pc:docMk/>
            <pc:sldMk cId="3998343956" sldId="756"/>
            <ac:spMk id="33" creationId="{F3C6B8AF-4B3C-1396-97C6-D30F704B0C80}"/>
          </ac:spMkLst>
        </pc:spChg>
        <pc:spChg chg="del">
          <ac:chgData name="Francisco Treviño" userId="abe7146e798f448e" providerId="LiveId" clId="{A520D37C-AB97-494C-A932-061AA8309BD0}" dt="2023-07-27T09:05:12.008" v="2" actId="478"/>
          <ac:spMkLst>
            <pc:docMk/>
            <pc:sldMk cId="3998343956" sldId="756"/>
            <ac:spMk id="34" creationId="{D4FB823B-A30F-B869-44B6-C9F596005997}"/>
          </ac:spMkLst>
        </pc:spChg>
        <pc:spChg chg="del">
          <ac:chgData name="Francisco Treviño" userId="abe7146e798f448e" providerId="LiveId" clId="{A520D37C-AB97-494C-A932-061AA8309BD0}" dt="2023-07-27T09:05:12.008" v="2" actId="478"/>
          <ac:spMkLst>
            <pc:docMk/>
            <pc:sldMk cId="3998343956" sldId="756"/>
            <ac:spMk id="35" creationId="{C397A431-8D73-6CEB-806F-E7A5003C94C4}"/>
          </ac:spMkLst>
        </pc:spChg>
        <pc:spChg chg="del">
          <ac:chgData name="Francisco Treviño" userId="abe7146e798f448e" providerId="LiveId" clId="{A520D37C-AB97-494C-A932-061AA8309BD0}" dt="2023-07-27T09:05:12.008" v="2" actId="478"/>
          <ac:spMkLst>
            <pc:docMk/>
            <pc:sldMk cId="3998343956" sldId="756"/>
            <ac:spMk id="36" creationId="{D2536B16-8892-5EF3-B477-FCFDEA88D8B2}"/>
          </ac:spMkLst>
        </pc:spChg>
        <pc:spChg chg="del">
          <ac:chgData name="Francisco Treviño" userId="abe7146e798f448e" providerId="LiveId" clId="{A520D37C-AB97-494C-A932-061AA8309BD0}" dt="2023-07-27T09:05:12.008" v="2" actId="478"/>
          <ac:spMkLst>
            <pc:docMk/>
            <pc:sldMk cId="3998343956" sldId="756"/>
            <ac:spMk id="37" creationId="{02BEAD5C-45DA-7455-D9E6-1AD3E24F61C7}"/>
          </ac:spMkLst>
        </pc:spChg>
        <pc:picChg chg="del">
          <ac:chgData name="Francisco Treviño" userId="abe7146e798f448e" providerId="LiveId" clId="{A520D37C-AB97-494C-A932-061AA8309BD0}" dt="2023-07-27T09:05:12.008" v="2" actId="478"/>
          <ac:picMkLst>
            <pc:docMk/>
            <pc:sldMk cId="3998343956" sldId="756"/>
            <ac:picMk id="22" creationId="{E44F201E-9203-A980-E401-37B61FDA6872}"/>
          </ac:picMkLst>
        </pc:picChg>
        <pc:picChg chg="del">
          <ac:chgData name="Francisco Treviño" userId="abe7146e798f448e" providerId="LiveId" clId="{A520D37C-AB97-494C-A932-061AA8309BD0}" dt="2023-07-27T09:05:12.008" v="2" actId="478"/>
          <ac:picMkLst>
            <pc:docMk/>
            <pc:sldMk cId="3998343956" sldId="756"/>
            <ac:picMk id="23" creationId="{9E33DD54-BF02-1EF4-FF92-C39DA70014E4}"/>
          </ac:picMkLst>
        </pc:picChg>
        <pc:picChg chg="del">
          <ac:chgData name="Francisco Treviño" userId="abe7146e798f448e" providerId="LiveId" clId="{A520D37C-AB97-494C-A932-061AA8309BD0}" dt="2023-07-27T09:05:12.008" v="2" actId="478"/>
          <ac:picMkLst>
            <pc:docMk/>
            <pc:sldMk cId="3998343956" sldId="756"/>
            <ac:picMk id="24" creationId="{5BC45E78-9DA8-C495-D161-5566165419F4}"/>
          </ac:picMkLst>
        </pc:picChg>
      </pc:sldChg>
      <pc:sldChg chg="add">
        <pc:chgData name="Francisco Treviño" userId="abe7146e798f448e" providerId="LiveId" clId="{A520D37C-AB97-494C-A932-061AA8309BD0}" dt="2023-07-27T09:05:03.711" v="0"/>
        <pc:sldMkLst>
          <pc:docMk/>
          <pc:sldMk cId="1721118977" sldId="787"/>
        </pc:sldMkLst>
      </pc:sldChg>
      <pc:sldChg chg="delSp add mod delAnim">
        <pc:chgData name="Francisco Treviño" userId="abe7146e798f448e" providerId="LiveId" clId="{A520D37C-AB97-494C-A932-061AA8309BD0}" dt="2023-07-27T09:06:12.616" v="23" actId="478"/>
        <pc:sldMkLst>
          <pc:docMk/>
          <pc:sldMk cId="4054642794" sldId="788"/>
        </pc:sldMkLst>
        <pc:spChg chg="del">
          <ac:chgData name="Francisco Treviño" userId="abe7146e798f448e" providerId="LiveId" clId="{A520D37C-AB97-494C-A932-061AA8309BD0}" dt="2023-07-27T09:06:04.940" v="19" actId="478"/>
          <ac:spMkLst>
            <pc:docMk/>
            <pc:sldMk cId="4054642794" sldId="788"/>
            <ac:spMk id="19" creationId="{873C8093-5ED1-5FEB-EADA-4ABEAC09AD81}"/>
          </ac:spMkLst>
        </pc:spChg>
        <pc:spChg chg="del">
          <ac:chgData name="Francisco Treviño" userId="abe7146e798f448e" providerId="LiveId" clId="{A520D37C-AB97-494C-A932-061AA8309BD0}" dt="2023-07-27T09:06:04.940" v="19" actId="478"/>
          <ac:spMkLst>
            <pc:docMk/>
            <pc:sldMk cId="4054642794" sldId="788"/>
            <ac:spMk id="20" creationId="{2BFABDCF-DE8E-E77A-0273-101D5924FC1D}"/>
          </ac:spMkLst>
        </pc:spChg>
        <pc:spChg chg="del">
          <ac:chgData name="Francisco Treviño" userId="abe7146e798f448e" providerId="LiveId" clId="{A520D37C-AB97-494C-A932-061AA8309BD0}" dt="2023-07-27T09:06:04.940" v="19" actId="478"/>
          <ac:spMkLst>
            <pc:docMk/>
            <pc:sldMk cId="4054642794" sldId="788"/>
            <ac:spMk id="21" creationId="{FDBC99C4-1CCF-7730-1F5C-C93D027DB925}"/>
          </ac:spMkLst>
        </pc:spChg>
        <pc:spChg chg="del">
          <ac:chgData name="Francisco Treviño" userId="abe7146e798f448e" providerId="LiveId" clId="{A520D37C-AB97-494C-A932-061AA8309BD0}" dt="2023-07-27T09:06:04.940" v="19" actId="478"/>
          <ac:spMkLst>
            <pc:docMk/>
            <pc:sldMk cId="4054642794" sldId="788"/>
            <ac:spMk id="22" creationId="{C340780B-7C4B-BA61-E2FF-63BD26BDCF66}"/>
          </ac:spMkLst>
        </pc:spChg>
        <pc:spChg chg="del">
          <ac:chgData name="Francisco Treviño" userId="abe7146e798f448e" providerId="LiveId" clId="{A520D37C-AB97-494C-A932-061AA8309BD0}" dt="2023-07-27T09:06:12.616" v="23" actId="478"/>
          <ac:spMkLst>
            <pc:docMk/>
            <pc:sldMk cId="4054642794" sldId="788"/>
            <ac:spMk id="26" creationId="{62D7527B-D28B-2167-4786-7BA4C7622619}"/>
          </ac:spMkLst>
        </pc:spChg>
        <pc:spChg chg="del">
          <ac:chgData name="Francisco Treviño" userId="abe7146e798f448e" providerId="LiveId" clId="{A520D37C-AB97-494C-A932-061AA8309BD0}" dt="2023-07-27T09:06:11.683" v="22" actId="478"/>
          <ac:spMkLst>
            <pc:docMk/>
            <pc:sldMk cId="4054642794" sldId="788"/>
            <ac:spMk id="27" creationId="{9C440049-895C-753F-F99D-BAFCA34D88F6}"/>
          </ac:spMkLst>
        </pc:spChg>
        <pc:spChg chg="del">
          <ac:chgData name="Francisco Treviño" userId="abe7146e798f448e" providerId="LiveId" clId="{A520D37C-AB97-494C-A932-061AA8309BD0}" dt="2023-07-27T09:06:10.706" v="21" actId="478"/>
          <ac:spMkLst>
            <pc:docMk/>
            <pc:sldMk cId="4054642794" sldId="788"/>
            <ac:spMk id="28" creationId="{3FBA5A7F-9FED-A77E-F19D-C2291CAA031D}"/>
          </ac:spMkLst>
        </pc:spChg>
        <pc:spChg chg="del">
          <ac:chgData name="Francisco Treviño" userId="abe7146e798f448e" providerId="LiveId" clId="{A520D37C-AB97-494C-A932-061AA8309BD0}" dt="2023-07-27T09:06:07.468" v="20" actId="478"/>
          <ac:spMkLst>
            <pc:docMk/>
            <pc:sldMk cId="4054642794" sldId="788"/>
            <ac:spMk id="29" creationId="{6651153D-9B0C-7495-7915-CC2CC881A478}"/>
          </ac:spMkLst>
        </pc:spChg>
      </pc:sldChg>
      <pc:sldChg chg="delSp add mod delAnim">
        <pc:chgData name="Francisco Treviño" userId="abe7146e798f448e" providerId="LiveId" clId="{A520D37C-AB97-494C-A932-061AA8309BD0}" dt="2023-07-27T09:06:27.183" v="27" actId="478"/>
        <pc:sldMkLst>
          <pc:docMk/>
          <pc:sldMk cId="3593462369" sldId="789"/>
        </pc:sldMkLst>
        <pc:spChg chg="del">
          <ac:chgData name="Francisco Treviño" userId="abe7146e798f448e" providerId="LiveId" clId="{A520D37C-AB97-494C-A932-061AA8309BD0}" dt="2023-07-27T09:06:21.977" v="24" actId="478"/>
          <ac:spMkLst>
            <pc:docMk/>
            <pc:sldMk cId="3593462369" sldId="789"/>
            <ac:spMk id="20" creationId="{2BFABDCF-DE8E-E77A-0273-101D5924FC1D}"/>
          </ac:spMkLst>
        </pc:spChg>
        <pc:spChg chg="del">
          <ac:chgData name="Francisco Treviño" userId="abe7146e798f448e" providerId="LiveId" clId="{A520D37C-AB97-494C-A932-061AA8309BD0}" dt="2023-07-27T09:06:21.977" v="24" actId="478"/>
          <ac:spMkLst>
            <pc:docMk/>
            <pc:sldMk cId="3593462369" sldId="789"/>
            <ac:spMk id="21" creationId="{FDBC99C4-1CCF-7730-1F5C-C93D027DB925}"/>
          </ac:spMkLst>
        </pc:spChg>
        <pc:spChg chg="del">
          <ac:chgData name="Francisco Treviño" userId="abe7146e798f448e" providerId="LiveId" clId="{A520D37C-AB97-494C-A932-061AA8309BD0}" dt="2023-07-27T09:06:21.977" v="24" actId="478"/>
          <ac:spMkLst>
            <pc:docMk/>
            <pc:sldMk cId="3593462369" sldId="789"/>
            <ac:spMk id="22" creationId="{C340780B-7C4B-BA61-E2FF-63BD26BDCF66}"/>
          </ac:spMkLst>
        </pc:spChg>
        <pc:spChg chg="del">
          <ac:chgData name="Francisco Treviño" userId="abe7146e798f448e" providerId="LiveId" clId="{A520D37C-AB97-494C-A932-061AA8309BD0}" dt="2023-07-27T09:06:27.183" v="27" actId="478"/>
          <ac:spMkLst>
            <pc:docMk/>
            <pc:sldMk cId="3593462369" sldId="789"/>
            <ac:spMk id="27" creationId="{9C440049-895C-753F-F99D-BAFCA34D88F6}"/>
          </ac:spMkLst>
        </pc:spChg>
        <pc:spChg chg="del">
          <ac:chgData name="Francisco Treviño" userId="abe7146e798f448e" providerId="LiveId" clId="{A520D37C-AB97-494C-A932-061AA8309BD0}" dt="2023-07-27T09:06:25.192" v="26" actId="478"/>
          <ac:spMkLst>
            <pc:docMk/>
            <pc:sldMk cId="3593462369" sldId="789"/>
            <ac:spMk id="28" creationId="{3FBA5A7F-9FED-A77E-F19D-C2291CAA031D}"/>
          </ac:spMkLst>
        </pc:spChg>
        <pc:spChg chg="del">
          <ac:chgData name="Francisco Treviño" userId="abe7146e798f448e" providerId="LiveId" clId="{A520D37C-AB97-494C-A932-061AA8309BD0}" dt="2023-07-27T09:06:23.291" v="25" actId="478"/>
          <ac:spMkLst>
            <pc:docMk/>
            <pc:sldMk cId="3593462369" sldId="789"/>
            <ac:spMk id="29" creationId="{6651153D-9B0C-7495-7915-CC2CC881A478}"/>
          </ac:spMkLst>
        </pc:spChg>
      </pc:sldChg>
      <pc:sldChg chg="delSp add mod delAnim">
        <pc:chgData name="Francisco Treviño" userId="abe7146e798f448e" providerId="LiveId" clId="{A520D37C-AB97-494C-A932-061AA8309BD0}" dt="2023-07-27T09:06:37.459" v="30" actId="478"/>
        <pc:sldMkLst>
          <pc:docMk/>
          <pc:sldMk cId="4031962087" sldId="790"/>
        </pc:sldMkLst>
        <pc:spChg chg="del">
          <ac:chgData name="Francisco Treviño" userId="abe7146e798f448e" providerId="LiveId" clId="{A520D37C-AB97-494C-A932-061AA8309BD0}" dt="2023-07-27T09:06:34.914" v="28" actId="478"/>
          <ac:spMkLst>
            <pc:docMk/>
            <pc:sldMk cId="4031962087" sldId="790"/>
            <ac:spMk id="21" creationId="{FDBC99C4-1CCF-7730-1F5C-C93D027DB925}"/>
          </ac:spMkLst>
        </pc:spChg>
        <pc:spChg chg="del">
          <ac:chgData name="Francisco Treviño" userId="abe7146e798f448e" providerId="LiveId" clId="{A520D37C-AB97-494C-A932-061AA8309BD0}" dt="2023-07-27T09:06:34.914" v="28" actId="478"/>
          <ac:spMkLst>
            <pc:docMk/>
            <pc:sldMk cId="4031962087" sldId="790"/>
            <ac:spMk id="22" creationId="{C340780B-7C4B-BA61-E2FF-63BD26BDCF66}"/>
          </ac:spMkLst>
        </pc:spChg>
        <pc:spChg chg="del">
          <ac:chgData name="Francisco Treviño" userId="abe7146e798f448e" providerId="LiveId" clId="{A520D37C-AB97-494C-A932-061AA8309BD0}" dt="2023-07-27T09:06:37.459" v="30" actId="478"/>
          <ac:spMkLst>
            <pc:docMk/>
            <pc:sldMk cId="4031962087" sldId="790"/>
            <ac:spMk id="28" creationId="{3FBA5A7F-9FED-A77E-F19D-C2291CAA031D}"/>
          </ac:spMkLst>
        </pc:spChg>
        <pc:spChg chg="del">
          <ac:chgData name="Francisco Treviño" userId="abe7146e798f448e" providerId="LiveId" clId="{A520D37C-AB97-494C-A932-061AA8309BD0}" dt="2023-07-27T09:06:36.488" v="29" actId="478"/>
          <ac:spMkLst>
            <pc:docMk/>
            <pc:sldMk cId="4031962087" sldId="790"/>
            <ac:spMk id="29" creationId="{6651153D-9B0C-7495-7915-CC2CC881A478}"/>
          </ac:spMkLst>
        </pc:spChg>
      </pc:sldChg>
      <pc:sldChg chg="delSp add mod delAnim">
        <pc:chgData name="Francisco Treviño" userId="abe7146e798f448e" providerId="LiveId" clId="{A520D37C-AB97-494C-A932-061AA8309BD0}" dt="2023-07-27T09:06:45.943" v="32" actId="478"/>
        <pc:sldMkLst>
          <pc:docMk/>
          <pc:sldMk cId="2344432499" sldId="791"/>
        </pc:sldMkLst>
        <pc:spChg chg="del">
          <ac:chgData name="Francisco Treviño" userId="abe7146e798f448e" providerId="LiveId" clId="{A520D37C-AB97-494C-A932-061AA8309BD0}" dt="2023-07-27T09:06:43.876" v="31" actId="478"/>
          <ac:spMkLst>
            <pc:docMk/>
            <pc:sldMk cId="2344432499" sldId="791"/>
            <ac:spMk id="22" creationId="{C340780B-7C4B-BA61-E2FF-63BD26BDCF66}"/>
          </ac:spMkLst>
        </pc:spChg>
        <pc:spChg chg="del">
          <ac:chgData name="Francisco Treviño" userId="abe7146e798f448e" providerId="LiveId" clId="{A520D37C-AB97-494C-A932-061AA8309BD0}" dt="2023-07-27T09:06:45.943" v="32" actId="478"/>
          <ac:spMkLst>
            <pc:docMk/>
            <pc:sldMk cId="2344432499" sldId="791"/>
            <ac:spMk id="29" creationId="{6651153D-9B0C-7495-7915-CC2CC881A478}"/>
          </ac:spMkLst>
        </pc:spChg>
      </pc:sldChg>
      <pc:sldChg chg="add">
        <pc:chgData name="Francisco Treviño" userId="abe7146e798f448e" providerId="LiveId" clId="{A520D37C-AB97-494C-A932-061AA8309BD0}" dt="2023-07-27T09:05:31.327" v="9"/>
        <pc:sldMkLst>
          <pc:docMk/>
          <pc:sldMk cId="3543598866" sldId="792"/>
        </pc:sldMkLst>
      </pc:sldChg>
      <pc:sldChg chg="delSp modSp add mod delAnim">
        <pc:chgData name="Francisco Treviño" userId="abe7146e798f448e" providerId="LiveId" clId="{A520D37C-AB97-494C-A932-061AA8309BD0}" dt="2023-07-27T09:07:58.365" v="44" actId="207"/>
        <pc:sldMkLst>
          <pc:docMk/>
          <pc:sldMk cId="1068216201" sldId="793"/>
        </pc:sldMkLst>
        <pc:spChg chg="mod">
          <ac:chgData name="Francisco Treviño" userId="abe7146e798f448e" providerId="LiveId" clId="{A520D37C-AB97-494C-A932-061AA8309BD0}" dt="2023-07-27T09:07:58.365" v="44" actId="207"/>
          <ac:spMkLst>
            <pc:docMk/>
            <pc:sldMk cId="1068216201" sldId="793"/>
            <ac:spMk id="35" creationId="{D726EE70-90FF-1E64-3B82-523A9D4024BE}"/>
          </ac:spMkLst>
        </pc:spChg>
        <pc:spChg chg="mod">
          <ac:chgData name="Francisco Treviño" userId="abe7146e798f448e" providerId="LiveId" clId="{A520D37C-AB97-494C-A932-061AA8309BD0}" dt="2023-07-27T09:07:58.365" v="44" actId="207"/>
          <ac:spMkLst>
            <pc:docMk/>
            <pc:sldMk cId="1068216201" sldId="793"/>
            <ac:spMk id="36" creationId="{D6E70279-CB97-E461-EB49-8F10953E6C1B}"/>
          </ac:spMkLst>
        </pc:spChg>
        <pc:spChg chg="mod">
          <ac:chgData name="Francisco Treviño" userId="abe7146e798f448e" providerId="LiveId" clId="{A520D37C-AB97-494C-A932-061AA8309BD0}" dt="2023-07-27T09:07:58.365" v="44" actId="207"/>
          <ac:spMkLst>
            <pc:docMk/>
            <pc:sldMk cId="1068216201" sldId="793"/>
            <ac:spMk id="37" creationId="{6FAC3F98-C9C7-F419-707F-B700EFFE762B}"/>
          </ac:spMkLst>
        </pc:spChg>
        <pc:spChg chg="mod">
          <ac:chgData name="Francisco Treviño" userId="abe7146e798f448e" providerId="LiveId" clId="{A520D37C-AB97-494C-A932-061AA8309BD0}" dt="2023-07-27T09:07:58.365" v="44" actId="207"/>
          <ac:spMkLst>
            <pc:docMk/>
            <pc:sldMk cId="1068216201" sldId="793"/>
            <ac:spMk id="63" creationId="{7483086A-BCD2-396D-52E4-B788DD74003B}"/>
          </ac:spMkLst>
        </pc:spChg>
        <pc:spChg chg="mod">
          <ac:chgData name="Francisco Treviño" userId="abe7146e798f448e" providerId="LiveId" clId="{A520D37C-AB97-494C-A932-061AA8309BD0}" dt="2023-07-27T09:07:58.365" v="44" actId="207"/>
          <ac:spMkLst>
            <pc:docMk/>
            <pc:sldMk cId="1068216201" sldId="793"/>
            <ac:spMk id="64" creationId="{16ABA7DE-AD8A-7A68-8064-BA38D4106E4F}"/>
          </ac:spMkLst>
        </pc:spChg>
        <pc:spChg chg="mod">
          <ac:chgData name="Francisco Treviño" userId="abe7146e798f448e" providerId="LiveId" clId="{A520D37C-AB97-494C-A932-061AA8309BD0}" dt="2023-07-27T09:07:58.365" v="44" actId="207"/>
          <ac:spMkLst>
            <pc:docMk/>
            <pc:sldMk cId="1068216201" sldId="793"/>
            <ac:spMk id="65" creationId="{C1A1DC17-CF5A-34EF-139D-A012B847313B}"/>
          </ac:spMkLst>
        </pc:spChg>
        <pc:spChg chg="del">
          <ac:chgData name="Francisco Treviño" userId="abe7146e798f448e" providerId="LiveId" clId="{A520D37C-AB97-494C-A932-061AA8309BD0}" dt="2023-07-27T09:07:31.342" v="38" actId="478"/>
          <ac:spMkLst>
            <pc:docMk/>
            <pc:sldMk cId="1068216201" sldId="793"/>
            <ac:spMk id="78" creationId="{EA58E996-10FA-0E45-69C4-EC929E82A66B}"/>
          </ac:spMkLst>
        </pc:spChg>
        <pc:spChg chg="del">
          <ac:chgData name="Francisco Treviño" userId="abe7146e798f448e" providerId="LiveId" clId="{A520D37C-AB97-494C-A932-061AA8309BD0}" dt="2023-07-27T09:07:29.145" v="37" actId="478"/>
          <ac:spMkLst>
            <pc:docMk/>
            <pc:sldMk cId="1068216201" sldId="793"/>
            <ac:spMk id="79" creationId="{0496E67B-1801-D0D2-AB59-52AA8764F0D9}"/>
          </ac:spMkLst>
        </pc:spChg>
        <pc:spChg chg="del">
          <ac:chgData name="Francisco Treviño" userId="abe7146e798f448e" providerId="LiveId" clId="{A520D37C-AB97-494C-A932-061AA8309BD0}" dt="2023-07-27T09:07:33.633" v="39" actId="478"/>
          <ac:spMkLst>
            <pc:docMk/>
            <pc:sldMk cId="1068216201" sldId="793"/>
            <ac:spMk id="82" creationId="{2D16026E-380F-59CA-C4FF-82DD1D8F1226}"/>
          </ac:spMkLst>
        </pc:spChg>
        <pc:spChg chg="del">
          <ac:chgData name="Francisco Treviño" userId="abe7146e798f448e" providerId="LiveId" clId="{A520D37C-AB97-494C-A932-061AA8309BD0}" dt="2023-07-27T09:07:37.193" v="40" actId="478"/>
          <ac:spMkLst>
            <pc:docMk/>
            <pc:sldMk cId="1068216201" sldId="793"/>
            <ac:spMk id="84" creationId="{8CE55547-AE40-EE8A-57BE-CDFC4BC3CC0B}"/>
          </ac:spMkLst>
        </pc:spChg>
      </pc:sldChg>
      <pc:sldChg chg="delSp modSp add mod delAnim">
        <pc:chgData name="Francisco Treviño" userId="abe7146e798f448e" providerId="LiveId" clId="{A520D37C-AB97-494C-A932-061AA8309BD0}" dt="2023-07-27T09:08:39.892" v="52" actId="207"/>
        <pc:sldMkLst>
          <pc:docMk/>
          <pc:sldMk cId="1989159200" sldId="794"/>
        </pc:sldMkLst>
        <pc:spChg chg="mod">
          <ac:chgData name="Francisco Treviño" userId="abe7146e798f448e" providerId="LiveId" clId="{A520D37C-AB97-494C-A932-061AA8309BD0}" dt="2023-07-27T09:08:39.892" v="52" actId="207"/>
          <ac:spMkLst>
            <pc:docMk/>
            <pc:sldMk cId="1989159200" sldId="794"/>
            <ac:spMk id="38" creationId="{321ABFBC-91B3-91AC-409D-D1418B7F3004}"/>
          </ac:spMkLst>
        </pc:spChg>
        <pc:spChg chg="mod">
          <ac:chgData name="Francisco Treviño" userId="abe7146e798f448e" providerId="LiveId" clId="{A520D37C-AB97-494C-A932-061AA8309BD0}" dt="2023-07-27T09:08:39.892" v="52" actId="207"/>
          <ac:spMkLst>
            <pc:docMk/>
            <pc:sldMk cId="1989159200" sldId="794"/>
            <ac:spMk id="39" creationId="{4D7E5383-C2C4-275D-19A1-C49D5F8A8F60}"/>
          </ac:spMkLst>
        </pc:spChg>
        <pc:spChg chg="mod">
          <ac:chgData name="Francisco Treviño" userId="abe7146e798f448e" providerId="LiveId" clId="{A520D37C-AB97-494C-A932-061AA8309BD0}" dt="2023-07-27T09:08:39.892" v="52" actId="207"/>
          <ac:spMkLst>
            <pc:docMk/>
            <pc:sldMk cId="1989159200" sldId="794"/>
            <ac:spMk id="40" creationId="{970E86E7-1BFB-3CAD-C291-815394578579}"/>
          </ac:spMkLst>
        </pc:spChg>
        <pc:spChg chg="mod">
          <ac:chgData name="Francisco Treviño" userId="abe7146e798f448e" providerId="LiveId" clId="{A520D37C-AB97-494C-A932-061AA8309BD0}" dt="2023-07-27T09:08:39.892" v="52" actId="207"/>
          <ac:spMkLst>
            <pc:docMk/>
            <pc:sldMk cId="1989159200" sldId="794"/>
            <ac:spMk id="41" creationId="{473E8F67-60A6-1CD3-15D2-4048DDE7601B}"/>
          </ac:spMkLst>
        </pc:spChg>
        <pc:spChg chg="mod">
          <ac:chgData name="Francisco Treviño" userId="abe7146e798f448e" providerId="LiveId" clId="{A520D37C-AB97-494C-A932-061AA8309BD0}" dt="2023-07-27T09:08:39.892" v="52" actId="207"/>
          <ac:spMkLst>
            <pc:docMk/>
            <pc:sldMk cId="1989159200" sldId="794"/>
            <ac:spMk id="42" creationId="{A3A95A7E-F952-6A50-3F1A-1A341E467F58}"/>
          </ac:spMkLst>
        </pc:spChg>
        <pc:spChg chg="mod">
          <ac:chgData name="Francisco Treviño" userId="abe7146e798f448e" providerId="LiveId" clId="{A520D37C-AB97-494C-A932-061AA8309BD0}" dt="2023-07-27T09:08:25.756" v="51" actId="207"/>
          <ac:spMkLst>
            <pc:docMk/>
            <pc:sldMk cId="1989159200" sldId="794"/>
            <ac:spMk id="46" creationId="{6FB600DE-6208-F90B-336F-8226FA0270C1}"/>
          </ac:spMkLst>
        </pc:spChg>
        <pc:spChg chg="mod">
          <ac:chgData name="Francisco Treviño" userId="abe7146e798f448e" providerId="LiveId" clId="{A520D37C-AB97-494C-A932-061AA8309BD0}" dt="2023-07-27T09:08:39.892" v="52" actId="207"/>
          <ac:spMkLst>
            <pc:docMk/>
            <pc:sldMk cId="1989159200" sldId="794"/>
            <ac:spMk id="66" creationId="{EAADE173-AFD0-A2F2-63B3-3950D2E19CB4}"/>
          </ac:spMkLst>
        </pc:spChg>
        <pc:spChg chg="mod">
          <ac:chgData name="Francisco Treviño" userId="abe7146e798f448e" providerId="LiveId" clId="{A520D37C-AB97-494C-A932-061AA8309BD0}" dt="2023-07-27T09:08:39.892" v="52" actId="207"/>
          <ac:spMkLst>
            <pc:docMk/>
            <pc:sldMk cId="1989159200" sldId="794"/>
            <ac:spMk id="67" creationId="{6319E1B7-1EB4-DD99-5251-FBB6309A5B08}"/>
          </ac:spMkLst>
        </pc:spChg>
        <pc:spChg chg="mod">
          <ac:chgData name="Francisco Treviño" userId="abe7146e798f448e" providerId="LiveId" clId="{A520D37C-AB97-494C-A932-061AA8309BD0}" dt="2023-07-27T09:08:39.892" v="52" actId="207"/>
          <ac:spMkLst>
            <pc:docMk/>
            <pc:sldMk cId="1989159200" sldId="794"/>
            <ac:spMk id="68" creationId="{5EDBBDC2-16C8-935D-B781-1DF296AC35BC}"/>
          </ac:spMkLst>
        </pc:spChg>
        <pc:spChg chg="mod">
          <ac:chgData name="Francisco Treviño" userId="abe7146e798f448e" providerId="LiveId" clId="{A520D37C-AB97-494C-A932-061AA8309BD0}" dt="2023-07-27T09:08:39.892" v="52" actId="207"/>
          <ac:spMkLst>
            <pc:docMk/>
            <pc:sldMk cId="1989159200" sldId="794"/>
            <ac:spMk id="69" creationId="{80440BC0-60FC-68F1-616F-45EA62F84867}"/>
          </ac:spMkLst>
        </pc:spChg>
        <pc:spChg chg="mod">
          <ac:chgData name="Francisco Treviño" userId="abe7146e798f448e" providerId="LiveId" clId="{A520D37C-AB97-494C-A932-061AA8309BD0}" dt="2023-07-27T09:08:39.892" v="52" actId="207"/>
          <ac:spMkLst>
            <pc:docMk/>
            <pc:sldMk cId="1989159200" sldId="794"/>
            <ac:spMk id="70" creationId="{8A8961BD-108B-9724-ADE2-43C4D23645CE}"/>
          </ac:spMkLst>
        </pc:spChg>
        <pc:spChg chg="del">
          <ac:chgData name="Francisco Treviño" userId="abe7146e798f448e" providerId="LiveId" clId="{A520D37C-AB97-494C-A932-061AA8309BD0}" dt="2023-07-27T09:08:02.785" v="45" actId="478"/>
          <ac:spMkLst>
            <pc:docMk/>
            <pc:sldMk cId="1989159200" sldId="794"/>
            <ac:spMk id="75" creationId="{F9D7FC37-D5AF-6782-E5DB-520E7830C3D4}"/>
          </ac:spMkLst>
        </pc:spChg>
        <pc:spChg chg="del">
          <ac:chgData name="Francisco Treviño" userId="abe7146e798f448e" providerId="LiveId" clId="{A520D37C-AB97-494C-A932-061AA8309BD0}" dt="2023-07-27T09:08:07.334" v="47" actId="478"/>
          <ac:spMkLst>
            <pc:docMk/>
            <pc:sldMk cId="1989159200" sldId="794"/>
            <ac:spMk id="78" creationId="{EA58E996-10FA-0E45-69C4-EC929E82A66B}"/>
          </ac:spMkLst>
        </pc:spChg>
        <pc:spChg chg="del">
          <ac:chgData name="Francisco Treviño" userId="abe7146e798f448e" providerId="LiveId" clId="{A520D37C-AB97-494C-A932-061AA8309BD0}" dt="2023-07-27T09:08:05.030" v="46" actId="478"/>
          <ac:spMkLst>
            <pc:docMk/>
            <pc:sldMk cId="1989159200" sldId="794"/>
            <ac:spMk id="81" creationId="{C03DC27F-A1B6-39B1-54C6-AF0A2E023ECE}"/>
          </ac:spMkLst>
        </pc:spChg>
        <pc:spChg chg="del">
          <ac:chgData name="Francisco Treviño" userId="abe7146e798f448e" providerId="LiveId" clId="{A520D37C-AB97-494C-A932-061AA8309BD0}" dt="2023-07-27T09:08:09.352" v="48" actId="478"/>
          <ac:spMkLst>
            <pc:docMk/>
            <pc:sldMk cId="1989159200" sldId="794"/>
            <ac:spMk id="83" creationId="{EFFC6259-F821-3956-DE5E-8DCF9146FD05}"/>
          </ac:spMkLst>
        </pc:spChg>
        <pc:spChg chg="del">
          <ac:chgData name="Francisco Treviño" userId="abe7146e798f448e" providerId="LiveId" clId="{A520D37C-AB97-494C-A932-061AA8309BD0}" dt="2023-07-27T09:08:13.739" v="49" actId="478"/>
          <ac:spMkLst>
            <pc:docMk/>
            <pc:sldMk cId="1989159200" sldId="794"/>
            <ac:spMk id="84" creationId="{8CE55547-AE40-EE8A-57BE-CDFC4BC3CC0B}"/>
          </ac:spMkLst>
        </pc:spChg>
      </pc:sldChg>
      <pc:sldChg chg="delSp modSp add mod delAnim">
        <pc:chgData name="Francisco Treviño" userId="abe7146e798f448e" providerId="LiveId" clId="{A520D37C-AB97-494C-A932-061AA8309BD0}" dt="2023-07-27T09:09:36.620" v="69" actId="207"/>
        <pc:sldMkLst>
          <pc:docMk/>
          <pc:sldMk cId="2017365589" sldId="795"/>
        </pc:sldMkLst>
        <pc:spChg chg="mod">
          <ac:chgData name="Francisco Treviño" userId="abe7146e798f448e" providerId="LiveId" clId="{A520D37C-AB97-494C-A932-061AA8309BD0}" dt="2023-07-27T09:09:36.620" v="69" actId="207"/>
          <ac:spMkLst>
            <pc:docMk/>
            <pc:sldMk cId="2017365589" sldId="795"/>
            <ac:spMk id="48" creationId="{AD21DA29-CC6E-8D62-5DC0-216DC49DB9C0}"/>
          </ac:spMkLst>
        </pc:spChg>
        <pc:spChg chg="mod">
          <ac:chgData name="Francisco Treviño" userId="abe7146e798f448e" providerId="LiveId" clId="{A520D37C-AB97-494C-A932-061AA8309BD0}" dt="2023-07-27T09:09:36.620" v="69" actId="207"/>
          <ac:spMkLst>
            <pc:docMk/>
            <pc:sldMk cId="2017365589" sldId="795"/>
            <ac:spMk id="72" creationId="{F80FEB51-EB8C-EE9E-54F7-B7FA0831DE88}"/>
          </ac:spMkLst>
        </pc:spChg>
        <pc:spChg chg="del">
          <ac:chgData name="Francisco Treviño" userId="abe7146e798f448e" providerId="LiveId" clId="{A520D37C-AB97-494C-A932-061AA8309BD0}" dt="2023-07-27T09:09:23.652" v="63" actId="478"/>
          <ac:spMkLst>
            <pc:docMk/>
            <pc:sldMk cId="2017365589" sldId="795"/>
            <ac:spMk id="75" creationId="{F9D7FC37-D5AF-6782-E5DB-520E7830C3D4}"/>
          </ac:spMkLst>
        </pc:spChg>
        <pc:spChg chg="del">
          <ac:chgData name="Francisco Treviño" userId="abe7146e798f448e" providerId="LiveId" clId="{A520D37C-AB97-494C-A932-061AA8309BD0}" dt="2023-07-27T09:09:28.805" v="67" actId="478"/>
          <ac:spMkLst>
            <pc:docMk/>
            <pc:sldMk cId="2017365589" sldId="795"/>
            <ac:spMk id="78" creationId="{EA58E996-10FA-0E45-69C4-EC929E82A66B}"/>
          </ac:spMkLst>
        </pc:spChg>
        <pc:spChg chg="del">
          <ac:chgData name="Francisco Treviño" userId="abe7146e798f448e" providerId="LiveId" clId="{A520D37C-AB97-494C-A932-061AA8309BD0}" dt="2023-07-27T09:09:25.739" v="65" actId="478"/>
          <ac:spMkLst>
            <pc:docMk/>
            <pc:sldMk cId="2017365589" sldId="795"/>
            <ac:spMk id="79" creationId="{0496E67B-1801-D0D2-AB59-52AA8764F0D9}"/>
          </ac:spMkLst>
        </pc:spChg>
        <pc:spChg chg="del">
          <ac:chgData name="Francisco Treviño" userId="abe7146e798f448e" providerId="LiveId" clId="{A520D37C-AB97-494C-A932-061AA8309BD0}" dt="2023-07-27T09:09:24.890" v="64" actId="478"/>
          <ac:spMkLst>
            <pc:docMk/>
            <pc:sldMk cId="2017365589" sldId="795"/>
            <ac:spMk id="81" creationId="{C03DC27F-A1B6-39B1-54C6-AF0A2E023ECE}"/>
          </ac:spMkLst>
        </pc:spChg>
        <pc:spChg chg="del">
          <ac:chgData name="Francisco Treviño" userId="abe7146e798f448e" providerId="LiveId" clId="{A520D37C-AB97-494C-A932-061AA8309BD0}" dt="2023-07-27T09:09:27.132" v="66" actId="478"/>
          <ac:spMkLst>
            <pc:docMk/>
            <pc:sldMk cId="2017365589" sldId="795"/>
            <ac:spMk id="82" creationId="{2D16026E-380F-59CA-C4FF-82DD1D8F1226}"/>
          </ac:spMkLst>
        </pc:spChg>
        <pc:spChg chg="del">
          <ac:chgData name="Francisco Treviño" userId="abe7146e798f448e" providerId="LiveId" clId="{A520D37C-AB97-494C-A932-061AA8309BD0}" dt="2023-07-27T09:09:30.748" v="68" actId="478"/>
          <ac:spMkLst>
            <pc:docMk/>
            <pc:sldMk cId="2017365589" sldId="795"/>
            <ac:spMk id="83" creationId="{EFFC6259-F821-3956-DE5E-8DCF9146FD05}"/>
          </ac:spMkLst>
        </pc:spChg>
      </pc:sldChg>
      <pc:sldChg chg="delSp modSp add mod ord delAnim">
        <pc:chgData name="Francisco Treviño" userId="abe7146e798f448e" providerId="LiveId" clId="{A520D37C-AB97-494C-A932-061AA8309BD0}" dt="2023-07-27T09:09:13.920" v="61" actId="207"/>
        <pc:sldMkLst>
          <pc:docMk/>
          <pc:sldMk cId="2001813655" sldId="796"/>
        </pc:sldMkLst>
        <pc:spChg chg="mod">
          <ac:chgData name="Francisco Treviño" userId="abe7146e798f448e" providerId="LiveId" clId="{A520D37C-AB97-494C-A932-061AA8309BD0}" dt="2023-07-27T09:09:13.920" v="61" actId="207"/>
          <ac:spMkLst>
            <pc:docMk/>
            <pc:sldMk cId="2001813655" sldId="796"/>
            <ac:spMk id="34" creationId="{6E9D8F1A-4CEF-90C9-74A6-D71BB0D599AD}"/>
          </ac:spMkLst>
        </pc:spChg>
        <pc:spChg chg="mod">
          <ac:chgData name="Francisco Treviño" userId="abe7146e798f448e" providerId="LiveId" clId="{A520D37C-AB97-494C-A932-061AA8309BD0}" dt="2023-07-27T09:09:13.920" v="61" actId="207"/>
          <ac:spMkLst>
            <pc:docMk/>
            <pc:sldMk cId="2001813655" sldId="796"/>
            <ac:spMk id="62" creationId="{D36A9946-671B-2DBD-F167-69A594FE2DC0}"/>
          </ac:spMkLst>
        </pc:spChg>
        <pc:spChg chg="del">
          <ac:chgData name="Francisco Treviño" userId="abe7146e798f448e" providerId="LiveId" clId="{A520D37C-AB97-494C-A932-061AA8309BD0}" dt="2023-07-27T09:08:48.586" v="54" actId="478"/>
          <ac:spMkLst>
            <pc:docMk/>
            <pc:sldMk cId="2001813655" sldId="796"/>
            <ac:spMk id="75" creationId="{F9D7FC37-D5AF-6782-E5DB-520E7830C3D4}"/>
          </ac:spMkLst>
        </pc:spChg>
        <pc:spChg chg="del">
          <ac:chgData name="Francisco Treviño" userId="abe7146e798f448e" providerId="LiveId" clId="{A520D37C-AB97-494C-A932-061AA8309BD0}" dt="2023-07-27T09:08:51.216" v="56" actId="478"/>
          <ac:spMkLst>
            <pc:docMk/>
            <pc:sldMk cId="2001813655" sldId="796"/>
            <ac:spMk id="79" creationId="{0496E67B-1801-D0D2-AB59-52AA8764F0D9}"/>
          </ac:spMkLst>
        </pc:spChg>
        <pc:spChg chg="del">
          <ac:chgData name="Francisco Treviño" userId="abe7146e798f448e" providerId="LiveId" clId="{A520D37C-AB97-494C-A932-061AA8309BD0}" dt="2023-07-27T09:08:50.001" v="55" actId="478"/>
          <ac:spMkLst>
            <pc:docMk/>
            <pc:sldMk cId="2001813655" sldId="796"/>
            <ac:spMk id="81" creationId="{C03DC27F-A1B6-39B1-54C6-AF0A2E023ECE}"/>
          </ac:spMkLst>
        </pc:spChg>
        <pc:spChg chg="del">
          <ac:chgData name="Francisco Treviño" userId="abe7146e798f448e" providerId="LiveId" clId="{A520D37C-AB97-494C-A932-061AA8309BD0}" dt="2023-07-27T09:08:52.549" v="57" actId="478"/>
          <ac:spMkLst>
            <pc:docMk/>
            <pc:sldMk cId="2001813655" sldId="796"/>
            <ac:spMk id="82" creationId="{2D16026E-380F-59CA-C4FF-82DD1D8F1226}"/>
          </ac:spMkLst>
        </pc:spChg>
        <pc:spChg chg="del">
          <ac:chgData name="Francisco Treviño" userId="abe7146e798f448e" providerId="LiveId" clId="{A520D37C-AB97-494C-A932-061AA8309BD0}" dt="2023-07-27T09:08:55.396" v="58" actId="478"/>
          <ac:spMkLst>
            <pc:docMk/>
            <pc:sldMk cId="2001813655" sldId="796"/>
            <ac:spMk id="84" creationId="{8CE55547-AE40-EE8A-57BE-CDFC4BC3CC0B}"/>
          </ac:spMkLst>
        </pc:spChg>
      </pc:sldChg>
      <pc:sldChg chg="add del">
        <pc:chgData name="Francisco Treviño" userId="abe7146e798f448e" providerId="LiveId" clId="{A520D37C-AB97-494C-A932-061AA8309BD0}" dt="2023-07-27T09:09:48.224" v="70" actId="47"/>
        <pc:sldMkLst>
          <pc:docMk/>
          <pc:sldMk cId="2692397105" sldId="797"/>
        </pc:sldMkLst>
      </pc:sldChg>
    </pc:docChg>
  </pc:docChgLst>
  <pc:docChgLst>
    <pc:chgData name="Francisco Treviño" userId="abe7146e798f448e" providerId="LiveId" clId="{97D938C7-5D03-44B5-AF06-85F2285E6FD2}"/>
    <pc:docChg chg="undo custSel addSld delSld modSld sldOrd addSection delSection modSection replTag">
      <pc:chgData name="Francisco Treviño" userId="abe7146e798f448e" providerId="LiveId" clId="{97D938C7-5D03-44B5-AF06-85F2285E6FD2}" dt="2023-08-03T02:28:10.748" v="4156" actId="20577"/>
      <pc:docMkLst>
        <pc:docMk/>
      </pc:docMkLst>
      <pc:sldChg chg="addSp delSp modSp mod">
        <pc:chgData name="Francisco Treviño" userId="abe7146e798f448e" providerId="LiveId" clId="{97D938C7-5D03-44B5-AF06-85F2285E6FD2}" dt="2023-08-03T02:28:10.748" v="4156" actId="20577"/>
        <pc:sldMkLst>
          <pc:docMk/>
          <pc:sldMk cId="3730315298" sldId="495"/>
        </pc:sldMkLst>
        <pc:spChg chg="add del mod modVis">
          <ac:chgData name="Francisco Treviño" userId="abe7146e798f448e" providerId="LiveId" clId="{97D938C7-5D03-44B5-AF06-85F2285E6FD2}" dt="2023-08-03T00:38:57.391" v="48"/>
          <ac:spMkLst>
            <pc:docMk/>
            <pc:sldMk cId="3730315298" sldId="495"/>
            <ac:spMk id="2" creationId="{5784B16B-6A38-FC20-0E0B-F613390F60FD}"/>
          </ac:spMkLst>
        </pc:spChg>
        <pc:spChg chg="add del mod modVis">
          <ac:chgData name="Francisco Treviño" userId="abe7146e798f448e" providerId="LiveId" clId="{97D938C7-5D03-44B5-AF06-85F2285E6FD2}" dt="2023-08-03T00:38:58.732" v="96"/>
          <ac:spMkLst>
            <pc:docMk/>
            <pc:sldMk cId="3730315298" sldId="495"/>
            <ac:spMk id="3" creationId="{E18E6557-AEA0-EF60-A6BD-3AB73DB33B61}"/>
          </ac:spMkLst>
        </pc:spChg>
        <pc:spChg chg="mod">
          <ac:chgData name="Francisco Treviño" userId="abe7146e798f448e" providerId="LiveId" clId="{97D938C7-5D03-44B5-AF06-85F2285E6FD2}" dt="2023-08-03T00:39:28.682" v="716" actId="948"/>
          <ac:spMkLst>
            <pc:docMk/>
            <pc:sldMk cId="3730315298" sldId="495"/>
            <ac:spMk id="4" creationId="{7B84A045-2D43-9859-3469-84775715D19E}"/>
          </ac:spMkLst>
        </pc:spChg>
        <pc:spChg chg="add del mod modVis">
          <ac:chgData name="Francisco Treviño" userId="abe7146e798f448e" providerId="LiveId" clId="{97D938C7-5D03-44B5-AF06-85F2285E6FD2}" dt="2023-08-03T00:39:00.434" v="143"/>
          <ac:spMkLst>
            <pc:docMk/>
            <pc:sldMk cId="3730315298" sldId="495"/>
            <ac:spMk id="5" creationId="{E7C481FF-277B-951B-6E5A-3605D3CE59AB}"/>
          </ac:spMkLst>
        </pc:spChg>
        <pc:spChg chg="mod">
          <ac:chgData name="Francisco Treviño" userId="abe7146e798f448e" providerId="LiveId" clId="{97D938C7-5D03-44B5-AF06-85F2285E6FD2}" dt="2023-08-03T02:28:10.748" v="4156" actId="20577"/>
          <ac:spMkLst>
            <pc:docMk/>
            <pc:sldMk cId="3730315298" sldId="495"/>
            <ac:spMk id="8" creationId="{EB3FA82C-4582-20B0-47D7-74A996EFA3BE}"/>
          </ac:spMkLst>
        </pc:spChg>
        <pc:spChg chg="add del mod modVis">
          <ac:chgData name="Francisco Treviño" userId="abe7146e798f448e" providerId="LiveId" clId="{97D938C7-5D03-44B5-AF06-85F2285E6FD2}" dt="2023-08-03T00:39:01.138" v="188"/>
          <ac:spMkLst>
            <pc:docMk/>
            <pc:sldMk cId="3730315298" sldId="495"/>
            <ac:spMk id="9" creationId="{C93D9DA3-A0DE-64A3-72A1-64D6681F7633}"/>
          </ac:spMkLst>
        </pc:spChg>
        <pc:spChg chg="add del mod modVis">
          <ac:chgData name="Francisco Treviño" userId="abe7146e798f448e" providerId="LiveId" clId="{97D938C7-5D03-44B5-AF06-85F2285E6FD2}" dt="2023-08-03T00:39:05.551" v="251"/>
          <ac:spMkLst>
            <pc:docMk/>
            <pc:sldMk cId="3730315298" sldId="495"/>
            <ac:spMk id="12" creationId="{4170D958-BB57-76BE-81AF-97D7E7A7669B}"/>
          </ac:spMkLst>
        </pc:spChg>
        <pc:spChg chg="add del mod modVis">
          <ac:chgData name="Francisco Treviño" userId="abe7146e798f448e" providerId="LiveId" clId="{97D938C7-5D03-44B5-AF06-85F2285E6FD2}" dt="2023-08-03T00:39:07.029" v="311"/>
          <ac:spMkLst>
            <pc:docMk/>
            <pc:sldMk cId="3730315298" sldId="495"/>
            <ac:spMk id="13" creationId="{0FDFAF1A-00E5-406E-6BF9-8CBB9A0EB64E}"/>
          </ac:spMkLst>
        </pc:spChg>
        <pc:spChg chg="add del mod modVis">
          <ac:chgData name="Francisco Treviño" userId="abe7146e798f448e" providerId="LiveId" clId="{97D938C7-5D03-44B5-AF06-85F2285E6FD2}" dt="2023-08-03T00:39:11.421" v="371"/>
          <ac:spMkLst>
            <pc:docMk/>
            <pc:sldMk cId="3730315298" sldId="495"/>
            <ac:spMk id="14" creationId="{6BB8A199-9726-36E3-AA21-B87371D2F00E}"/>
          </ac:spMkLst>
        </pc:spChg>
        <pc:spChg chg="add del mod modVis">
          <ac:chgData name="Francisco Treviño" userId="abe7146e798f448e" providerId="LiveId" clId="{97D938C7-5D03-44B5-AF06-85F2285E6FD2}" dt="2023-08-03T00:39:12.429" v="431"/>
          <ac:spMkLst>
            <pc:docMk/>
            <pc:sldMk cId="3730315298" sldId="495"/>
            <ac:spMk id="15" creationId="{45B90402-BD96-F4B1-1F89-D1A378BAF72E}"/>
          </ac:spMkLst>
        </pc:spChg>
        <pc:spChg chg="add del mod modVis">
          <ac:chgData name="Francisco Treviño" userId="abe7146e798f448e" providerId="LiveId" clId="{97D938C7-5D03-44B5-AF06-85F2285E6FD2}" dt="2023-08-03T00:39:17.353" v="495"/>
          <ac:spMkLst>
            <pc:docMk/>
            <pc:sldMk cId="3730315298" sldId="495"/>
            <ac:spMk id="16" creationId="{D1AD384C-352A-D97F-C56C-21D66EEDC4E6}"/>
          </ac:spMkLst>
        </pc:spChg>
        <pc:spChg chg="add del mod modVis">
          <ac:chgData name="Francisco Treviño" userId="abe7146e798f448e" providerId="LiveId" clId="{97D938C7-5D03-44B5-AF06-85F2285E6FD2}" dt="2023-08-03T00:39:20.195" v="555"/>
          <ac:spMkLst>
            <pc:docMk/>
            <pc:sldMk cId="3730315298" sldId="495"/>
            <ac:spMk id="17" creationId="{80C66CDB-6B5A-EC7B-9071-67884923577A}"/>
          </ac:spMkLst>
        </pc:spChg>
        <pc:spChg chg="add del mod modVis">
          <ac:chgData name="Francisco Treviño" userId="abe7146e798f448e" providerId="LiveId" clId="{97D938C7-5D03-44B5-AF06-85F2285E6FD2}" dt="2023-08-03T00:39:22.647" v="615"/>
          <ac:spMkLst>
            <pc:docMk/>
            <pc:sldMk cId="3730315298" sldId="495"/>
            <ac:spMk id="18" creationId="{E09CD0DA-1A84-0797-E281-F4EECFAAB5CA}"/>
          </ac:spMkLst>
        </pc:spChg>
        <pc:spChg chg="add del mod modVis">
          <ac:chgData name="Francisco Treviño" userId="abe7146e798f448e" providerId="LiveId" clId="{97D938C7-5D03-44B5-AF06-85F2285E6FD2}" dt="2023-08-03T00:39:26.565" v="702"/>
          <ac:spMkLst>
            <pc:docMk/>
            <pc:sldMk cId="3730315298" sldId="495"/>
            <ac:spMk id="19" creationId="{6EC39AD3-14B9-1A86-5AA6-30FB07E90602}"/>
          </ac:spMkLst>
        </pc:spChg>
        <pc:spChg chg="add del mod modVis">
          <ac:chgData name="Francisco Treviño" userId="abe7146e798f448e" providerId="LiveId" clId="{97D938C7-5D03-44B5-AF06-85F2285E6FD2}" dt="2023-08-03T00:39:28.784" v="787"/>
          <ac:spMkLst>
            <pc:docMk/>
            <pc:sldMk cId="3730315298" sldId="495"/>
            <ac:spMk id="20" creationId="{371339E2-EC41-9D63-0C50-7834AA3CA45B}"/>
          </ac:spMkLst>
        </pc:spChg>
        <pc:graphicFrameChg chg="mod">
          <ac:chgData name="Francisco Treviño" userId="abe7146e798f448e" providerId="LiveId" clId="{97D938C7-5D03-44B5-AF06-85F2285E6FD2}" dt="2023-08-03T00:39:28.788" v="789"/>
          <ac:graphicFrameMkLst>
            <pc:docMk/>
            <pc:sldMk cId="3730315298" sldId="495"/>
            <ac:graphicFrameMk id="7" creationId="{56BD78A3-C4FF-27E8-1B40-A974254C4035}"/>
          </ac:graphicFrameMkLst>
        </pc:graphicFrameChg>
        <pc:picChg chg="add del mod">
          <ac:chgData name="Francisco Treviño" userId="abe7146e798f448e" providerId="LiveId" clId="{97D938C7-5D03-44B5-AF06-85F2285E6FD2}" dt="2023-08-03T01:07:46.754" v="2220" actId="478"/>
          <ac:picMkLst>
            <pc:docMk/>
            <pc:sldMk cId="3730315298" sldId="495"/>
            <ac:picMk id="22" creationId="{C35C897D-226E-FE90-83AB-42C3E462917C}"/>
          </ac:picMkLst>
        </pc:picChg>
      </pc:sldChg>
      <pc:sldChg chg="del">
        <pc:chgData name="Francisco Treviño" userId="abe7146e798f448e" providerId="LiveId" clId="{97D938C7-5D03-44B5-AF06-85F2285E6FD2}" dt="2023-08-03T00:40:34.201" v="821" actId="47"/>
        <pc:sldMkLst>
          <pc:docMk/>
          <pc:sldMk cId="1487916638" sldId="659"/>
        </pc:sldMkLst>
      </pc:sldChg>
      <pc:sldChg chg="del">
        <pc:chgData name="Francisco Treviño" userId="abe7146e798f448e" providerId="LiveId" clId="{97D938C7-5D03-44B5-AF06-85F2285E6FD2}" dt="2023-08-03T00:40:33.084" v="818" actId="47"/>
        <pc:sldMkLst>
          <pc:docMk/>
          <pc:sldMk cId="1930513398" sldId="661"/>
        </pc:sldMkLst>
      </pc:sldChg>
      <pc:sldChg chg="addSp delSp modSp mod ord modAnim">
        <pc:chgData name="Francisco Treviño" userId="abe7146e798f448e" providerId="LiveId" clId="{97D938C7-5D03-44B5-AF06-85F2285E6FD2}" dt="2023-08-03T02:12:23.839" v="2526"/>
        <pc:sldMkLst>
          <pc:docMk/>
          <pc:sldMk cId="4069986263" sldId="662"/>
        </pc:sldMkLst>
        <pc:spChg chg="mod">
          <ac:chgData name="Francisco Treviño" userId="abe7146e798f448e" providerId="LiveId" clId="{97D938C7-5D03-44B5-AF06-85F2285E6FD2}" dt="2023-08-03T02:12:23.815" v="2483"/>
          <ac:spMkLst>
            <pc:docMk/>
            <pc:sldMk cId="4069986263" sldId="662"/>
            <ac:spMk id="2" creationId="{9A02571A-D1B6-8EB4-985A-7487325A2207}"/>
          </ac:spMkLst>
        </pc:spChg>
        <pc:spChg chg="del">
          <ac:chgData name="Francisco Treviño" userId="abe7146e798f448e" providerId="LiveId" clId="{97D938C7-5D03-44B5-AF06-85F2285E6FD2}" dt="2023-08-03T02:10:11.910" v="2229" actId="478"/>
          <ac:spMkLst>
            <pc:docMk/>
            <pc:sldMk cId="4069986263" sldId="662"/>
            <ac:spMk id="3" creationId="{9B673EDD-60F6-B255-CBBA-28655E439BD5}"/>
          </ac:spMkLst>
        </pc:spChg>
        <pc:spChg chg="add del mod">
          <ac:chgData name="Francisco Treviño" userId="abe7146e798f448e" providerId="LiveId" clId="{97D938C7-5D03-44B5-AF06-85F2285E6FD2}" dt="2023-08-03T02:10:11.910" v="2229" actId="478"/>
          <ac:spMkLst>
            <pc:docMk/>
            <pc:sldMk cId="4069986263" sldId="662"/>
            <ac:spMk id="4" creationId="{0062FF9D-ABEA-7F67-9898-9929E730C9E7}"/>
          </ac:spMkLst>
        </pc:spChg>
        <pc:spChg chg="del">
          <ac:chgData name="Francisco Treviño" userId="abe7146e798f448e" providerId="LiveId" clId="{97D938C7-5D03-44B5-AF06-85F2285E6FD2}" dt="2023-08-03T02:10:11.910" v="2229" actId="478"/>
          <ac:spMkLst>
            <pc:docMk/>
            <pc:sldMk cId="4069986263" sldId="662"/>
            <ac:spMk id="7" creationId="{4D369442-5F3D-8774-D053-41BE78D19587}"/>
          </ac:spMkLst>
        </pc:spChg>
        <pc:spChg chg="del">
          <ac:chgData name="Francisco Treviño" userId="abe7146e798f448e" providerId="LiveId" clId="{97D938C7-5D03-44B5-AF06-85F2285E6FD2}" dt="2023-08-03T02:10:11.910" v="2229" actId="478"/>
          <ac:spMkLst>
            <pc:docMk/>
            <pc:sldMk cId="4069986263" sldId="662"/>
            <ac:spMk id="8" creationId="{178D8151-4810-BB6F-BEFF-011C9EDDD84C}"/>
          </ac:spMkLst>
        </pc:spChg>
        <pc:spChg chg="add mod">
          <ac:chgData name="Francisco Treviño" userId="abe7146e798f448e" providerId="LiveId" clId="{97D938C7-5D03-44B5-AF06-85F2285E6FD2}" dt="2023-08-03T02:10:41.112" v="2238" actId="14100"/>
          <ac:spMkLst>
            <pc:docMk/>
            <pc:sldMk cId="4069986263" sldId="662"/>
            <ac:spMk id="11" creationId="{E4AA5839-30FA-21D6-5810-89EE4577AC68}"/>
          </ac:spMkLst>
        </pc:spChg>
        <pc:spChg chg="add mod">
          <ac:chgData name="Francisco Treviño" userId="abe7146e798f448e" providerId="LiveId" clId="{97D938C7-5D03-44B5-AF06-85F2285E6FD2}" dt="2023-08-03T02:10:53.434" v="2284" actId="1076"/>
          <ac:spMkLst>
            <pc:docMk/>
            <pc:sldMk cId="4069986263" sldId="662"/>
            <ac:spMk id="12" creationId="{0017D134-7538-8840-5D89-52C2E7B058F5}"/>
          </ac:spMkLst>
        </pc:spChg>
        <pc:spChg chg="add del mod modVis">
          <ac:chgData name="Francisco Treviño" userId="abe7146e798f448e" providerId="LiveId" clId="{97D938C7-5D03-44B5-AF06-85F2285E6FD2}" dt="2023-08-03T02:12:19.082" v="2428"/>
          <ac:spMkLst>
            <pc:docMk/>
            <pc:sldMk cId="4069986263" sldId="662"/>
            <ac:spMk id="13" creationId="{C7A50D46-B971-356D-A332-13CEF3F1EF42}"/>
          </ac:spMkLst>
        </pc:spChg>
        <pc:spChg chg="add del mod modVis">
          <ac:chgData name="Francisco Treviño" userId="abe7146e798f448e" providerId="LiveId" clId="{97D938C7-5D03-44B5-AF06-85F2285E6FD2}" dt="2023-08-03T02:12:21.735" v="2475"/>
          <ac:spMkLst>
            <pc:docMk/>
            <pc:sldMk cId="4069986263" sldId="662"/>
            <ac:spMk id="14" creationId="{58823CF6-0F36-7AD1-029D-BF38FD35FB2A}"/>
          </ac:spMkLst>
        </pc:spChg>
        <pc:spChg chg="del">
          <ac:chgData name="Francisco Treviño" userId="abe7146e798f448e" providerId="LiveId" clId="{97D938C7-5D03-44B5-AF06-85F2285E6FD2}" dt="2023-08-03T02:10:11.910" v="2229" actId="478"/>
          <ac:spMkLst>
            <pc:docMk/>
            <pc:sldMk cId="4069986263" sldId="662"/>
            <ac:spMk id="15" creationId="{61E4FB7E-50BD-A428-C0D7-8D67294A47C8}"/>
          </ac:spMkLst>
        </pc:spChg>
        <pc:spChg chg="add del mod modVis">
          <ac:chgData name="Francisco Treviño" userId="abe7146e798f448e" providerId="LiveId" clId="{97D938C7-5D03-44B5-AF06-85F2285E6FD2}" dt="2023-08-03T02:12:23.837" v="2524"/>
          <ac:spMkLst>
            <pc:docMk/>
            <pc:sldMk cId="4069986263" sldId="662"/>
            <ac:spMk id="16" creationId="{AC70B7A4-D26F-244E-2794-210A04399CA9}"/>
          </ac:spMkLst>
        </pc:spChg>
        <pc:spChg chg="del">
          <ac:chgData name="Francisco Treviño" userId="abe7146e798f448e" providerId="LiveId" clId="{97D938C7-5D03-44B5-AF06-85F2285E6FD2}" dt="2023-08-03T02:10:11.910" v="2229" actId="478"/>
          <ac:spMkLst>
            <pc:docMk/>
            <pc:sldMk cId="4069986263" sldId="662"/>
            <ac:spMk id="18" creationId="{8A251B26-89EC-0946-161B-616A21C8752C}"/>
          </ac:spMkLst>
        </pc:spChg>
        <pc:spChg chg="del">
          <ac:chgData name="Francisco Treviño" userId="abe7146e798f448e" providerId="LiveId" clId="{97D938C7-5D03-44B5-AF06-85F2285E6FD2}" dt="2023-08-03T02:10:11.910" v="2229" actId="478"/>
          <ac:spMkLst>
            <pc:docMk/>
            <pc:sldMk cId="4069986263" sldId="662"/>
            <ac:spMk id="23" creationId="{EAFC7009-C3D2-44A1-327E-A169FBDD71F8}"/>
          </ac:spMkLst>
        </pc:spChg>
        <pc:spChg chg="del">
          <ac:chgData name="Francisco Treviño" userId="abe7146e798f448e" providerId="LiveId" clId="{97D938C7-5D03-44B5-AF06-85F2285E6FD2}" dt="2023-08-03T02:10:11.910" v="2229" actId="478"/>
          <ac:spMkLst>
            <pc:docMk/>
            <pc:sldMk cId="4069986263" sldId="662"/>
            <ac:spMk id="24" creationId="{6CA189B9-2458-6DEF-0478-F0E4DEF9EBF8}"/>
          </ac:spMkLst>
        </pc:spChg>
        <pc:spChg chg="del">
          <ac:chgData name="Francisco Treviño" userId="abe7146e798f448e" providerId="LiveId" clId="{97D938C7-5D03-44B5-AF06-85F2285E6FD2}" dt="2023-08-03T02:10:11.910" v="2229" actId="478"/>
          <ac:spMkLst>
            <pc:docMk/>
            <pc:sldMk cId="4069986263" sldId="662"/>
            <ac:spMk id="25" creationId="{F002D22C-1292-EE47-CA36-22A35DFB1593}"/>
          </ac:spMkLst>
        </pc:spChg>
        <pc:spChg chg="del">
          <ac:chgData name="Francisco Treviño" userId="abe7146e798f448e" providerId="LiveId" clId="{97D938C7-5D03-44B5-AF06-85F2285E6FD2}" dt="2023-08-03T00:42:48.614" v="1177" actId="478"/>
          <ac:spMkLst>
            <pc:docMk/>
            <pc:sldMk cId="4069986263" sldId="662"/>
            <ac:spMk id="26" creationId="{FCBD6914-9296-CD72-A80B-DAC4E7731628}"/>
          </ac:spMkLst>
        </pc:spChg>
        <pc:grpChg chg="del">
          <ac:chgData name="Francisco Treviño" userId="abe7146e798f448e" providerId="LiveId" clId="{97D938C7-5D03-44B5-AF06-85F2285E6FD2}" dt="2023-08-03T00:42:47.484" v="1176" actId="478"/>
          <ac:grpSpMkLst>
            <pc:docMk/>
            <pc:sldMk cId="4069986263" sldId="662"/>
            <ac:grpSpMk id="27" creationId="{A9AB082D-B54B-9BCF-8D2C-7D62575755D7}"/>
          </ac:grpSpMkLst>
        </pc:grpChg>
        <pc:grpChg chg="del">
          <ac:chgData name="Francisco Treviño" userId="abe7146e798f448e" providerId="LiveId" clId="{97D938C7-5D03-44B5-AF06-85F2285E6FD2}" dt="2023-08-03T00:43:01.062" v="1178" actId="478"/>
          <ac:grpSpMkLst>
            <pc:docMk/>
            <pc:sldMk cId="4069986263" sldId="662"/>
            <ac:grpSpMk id="50" creationId="{30873E28-0EE1-815B-9F15-BCE82B92B176}"/>
          </ac:grpSpMkLst>
        </pc:grpChg>
        <pc:graphicFrameChg chg="mod">
          <ac:chgData name="Francisco Treviño" userId="abe7146e798f448e" providerId="LiveId" clId="{97D938C7-5D03-44B5-AF06-85F2285E6FD2}" dt="2023-08-03T02:12:23.839" v="2526"/>
          <ac:graphicFrameMkLst>
            <pc:docMk/>
            <pc:sldMk cId="4069986263" sldId="662"/>
            <ac:graphicFrameMk id="6" creationId="{6340F78E-8A1D-407C-D535-79FCE988D987}"/>
          </ac:graphicFrameMkLst>
        </pc:graphicFrameChg>
        <pc:picChg chg="add mod">
          <ac:chgData name="Francisco Treviño" userId="abe7146e798f448e" providerId="LiveId" clId="{97D938C7-5D03-44B5-AF06-85F2285E6FD2}" dt="2023-08-03T02:10:34.365" v="2236" actId="1076"/>
          <ac:picMkLst>
            <pc:docMk/>
            <pc:sldMk cId="4069986263" sldId="662"/>
            <ac:picMk id="10" creationId="{A1338FAF-362C-558B-1326-449C7A027B7A}"/>
          </ac:picMkLst>
        </pc:picChg>
      </pc:sldChg>
      <pc:sldChg chg="del">
        <pc:chgData name="Francisco Treviño" userId="abe7146e798f448e" providerId="LiveId" clId="{97D938C7-5D03-44B5-AF06-85F2285E6FD2}" dt="2023-08-03T00:40:34.611" v="822" actId="47"/>
        <pc:sldMkLst>
          <pc:docMk/>
          <pc:sldMk cId="1031077528" sldId="664"/>
        </pc:sldMkLst>
      </pc:sldChg>
      <pc:sldChg chg="del">
        <pc:chgData name="Francisco Treviño" userId="abe7146e798f448e" providerId="LiveId" clId="{97D938C7-5D03-44B5-AF06-85F2285E6FD2}" dt="2023-08-03T00:40:33.347" v="819" actId="47"/>
        <pc:sldMkLst>
          <pc:docMk/>
          <pc:sldMk cId="1056453127" sldId="665"/>
        </pc:sldMkLst>
      </pc:sldChg>
      <pc:sldChg chg="del">
        <pc:chgData name="Francisco Treviño" userId="abe7146e798f448e" providerId="LiveId" clId="{97D938C7-5D03-44B5-AF06-85F2285E6FD2}" dt="2023-08-03T00:40:35.463" v="824" actId="47"/>
        <pc:sldMkLst>
          <pc:docMk/>
          <pc:sldMk cId="4071582300" sldId="667"/>
        </pc:sldMkLst>
      </pc:sldChg>
      <pc:sldChg chg="del">
        <pc:chgData name="Francisco Treviño" userId="abe7146e798f448e" providerId="LiveId" clId="{97D938C7-5D03-44B5-AF06-85F2285E6FD2}" dt="2023-08-03T00:40:36.679" v="828" actId="47"/>
        <pc:sldMkLst>
          <pc:docMk/>
          <pc:sldMk cId="3018258761" sldId="669"/>
        </pc:sldMkLst>
      </pc:sldChg>
      <pc:sldChg chg="del">
        <pc:chgData name="Francisco Treviño" userId="abe7146e798f448e" providerId="LiveId" clId="{97D938C7-5D03-44B5-AF06-85F2285E6FD2}" dt="2023-08-03T00:40:38.621" v="835" actId="47"/>
        <pc:sldMkLst>
          <pc:docMk/>
          <pc:sldMk cId="3661326894" sldId="683"/>
        </pc:sldMkLst>
      </pc:sldChg>
      <pc:sldChg chg="del">
        <pc:chgData name="Francisco Treviño" userId="abe7146e798f448e" providerId="LiveId" clId="{97D938C7-5D03-44B5-AF06-85F2285E6FD2}" dt="2023-08-03T00:39:59.126" v="806" actId="47"/>
        <pc:sldMkLst>
          <pc:docMk/>
          <pc:sldMk cId="1958010071" sldId="686"/>
        </pc:sldMkLst>
      </pc:sldChg>
      <pc:sldChg chg="del">
        <pc:chgData name="Francisco Treviño" userId="abe7146e798f448e" providerId="LiveId" clId="{97D938C7-5D03-44B5-AF06-85F2285E6FD2}" dt="2023-08-03T00:40:48.257" v="851" actId="47"/>
        <pc:sldMkLst>
          <pc:docMk/>
          <pc:sldMk cId="1810927772" sldId="689"/>
        </pc:sldMkLst>
      </pc:sldChg>
      <pc:sldChg chg="del">
        <pc:chgData name="Francisco Treviño" userId="abe7146e798f448e" providerId="LiveId" clId="{97D938C7-5D03-44B5-AF06-85F2285E6FD2}" dt="2023-08-03T00:40:49.773" v="852" actId="47"/>
        <pc:sldMkLst>
          <pc:docMk/>
          <pc:sldMk cId="1644273535" sldId="691"/>
        </pc:sldMkLst>
      </pc:sldChg>
      <pc:sldChg chg="del">
        <pc:chgData name="Francisco Treviño" userId="abe7146e798f448e" providerId="LiveId" clId="{97D938C7-5D03-44B5-AF06-85F2285E6FD2}" dt="2023-08-03T00:40:09.905" v="815" actId="47"/>
        <pc:sldMkLst>
          <pc:docMk/>
          <pc:sldMk cId="4165019484" sldId="704"/>
        </pc:sldMkLst>
      </pc:sldChg>
      <pc:sldChg chg="del">
        <pc:chgData name="Francisco Treviño" userId="abe7146e798f448e" providerId="LiveId" clId="{97D938C7-5D03-44B5-AF06-85F2285E6FD2}" dt="2023-08-03T00:40:39.810" v="838" actId="47"/>
        <pc:sldMkLst>
          <pc:docMk/>
          <pc:sldMk cId="1488874240" sldId="719"/>
        </pc:sldMkLst>
      </pc:sldChg>
      <pc:sldChg chg="del">
        <pc:chgData name="Francisco Treviño" userId="abe7146e798f448e" providerId="LiveId" clId="{97D938C7-5D03-44B5-AF06-85F2285E6FD2}" dt="2023-08-03T00:40:44.263" v="846" actId="47"/>
        <pc:sldMkLst>
          <pc:docMk/>
          <pc:sldMk cId="1607137568" sldId="722"/>
        </pc:sldMkLst>
      </pc:sldChg>
      <pc:sldChg chg="del">
        <pc:chgData name="Francisco Treviño" userId="abe7146e798f448e" providerId="LiveId" clId="{97D938C7-5D03-44B5-AF06-85F2285E6FD2}" dt="2023-08-03T00:40:38.934" v="836" actId="47"/>
        <pc:sldMkLst>
          <pc:docMk/>
          <pc:sldMk cId="3046496837" sldId="724"/>
        </pc:sldMkLst>
      </pc:sldChg>
      <pc:sldChg chg="del">
        <pc:chgData name="Francisco Treviño" userId="abe7146e798f448e" providerId="LiveId" clId="{97D938C7-5D03-44B5-AF06-85F2285E6FD2}" dt="2023-08-03T00:39:44.579" v="791" actId="47"/>
        <pc:sldMkLst>
          <pc:docMk/>
          <pc:sldMk cId="2327269904" sldId="725"/>
        </pc:sldMkLst>
      </pc:sldChg>
      <pc:sldChg chg="del">
        <pc:chgData name="Francisco Treviño" userId="abe7146e798f448e" providerId="LiveId" clId="{97D938C7-5D03-44B5-AF06-85F2285E6FD2}" dt="2023-08-03T00:39:57.639" v="801" actId="47"/>
        <pc:sldMkLst>
          <pc:docMk/>
          <pc:sldMk cId="798637169" sldId="731"/>
        </pc:sldMkLst>
      </pc:sldChg>
      <pc:sldChg chg="del">
        <pc:chgData name="Francisco Treviño" userId="abe7146e798f448e" providerId="LiveId" clId="{97D938C7-5D03-44B5-AF06-85F2285E6FD2}" dt="2023-08-03T00:39:38.204" v="790" actId="47"/>
        <pc:sldMkLst>
          <pc:docMk/>
          <pc:sldMk cId="1466057543" sldId="744"/>
        </pc:sldMkLst>
      </pc:sldChg>
      <pc:sldChg chg="addSp delSp modSp mod ord">
        <pc:chgData name="Francisco Treviño" userId="abe7146e798f448e" providerId="LiveId" clId="{97D938C7-5D03-44B5-AF06-85F2285E6FD2}" dt="2023-08-03T00:42:37.270" v="1174"/>
        <pc:sldMkLst>
          <pc:docMk/>
          <pc:sldMk cId="271297599" sldId="745"/>
        </pc:sldMkLst>
        <pc:spChg chg="add del mod modVis">
          <ac:chgData name="Francisco Treviño" userId="abe7146e798f448e" providerId="LiveId" clId="{97D938C7-5D03-44B5-AF06-85F2285E6FD2}" dt="2023-08-03T00:42:17.167" v="905"/>
          <ac:spMkLst>
            <pc:docMk/>
            <pc:sldMk cId="271297599" sldId="745"/>
            <ac:spMk id="2" creationId="{4EA71F29-7D81-599A-1A05-EE06D41D8DE6}"/>
          </ac:spMkLst>
        </pc:spChg>
        <pc:spChg chg="add del mod modVis">
          <ac:chgData name="Francisco Treviño" userId="abe7146e798f448e" providerId="LiveId" clId="{97D938C7-5D03-44B5-AF06-85F2285E6FD2}" dt="2023-08-03T00:42:25.901" v="954"/>
          <ac:spMkLst>
            <pc:docMk/>
            <pc:sldMk cId="271297599" sldId="745"/>
            <ac:spMk id="3" creationId="{D7F5D12A-1529-C2DC-2F2C-B75D5F1C4ABA}"/>
          </ac:spMkLst>
        </pc:spChg>
        <pc:spChg chg="mod">
          <ac:chgData name="Francisco Treviño" userId="abe7146e798f448e" providerId="LiveId" clId="{97D938C7-5D03-44B5-AF06-85F2285E6FD2}" dt="2023-08-03T00:42:37.205" v="1131" actId="948"/>
          <ac:spMkLst>
            <pc:docMk/>
            <pc:sldMk cId="271297599" sldId="745"/>
            <ac:spMk id="4" creationId="{7B84A045-2D43-9859-3469-84775715D19E}"/>
          </ac:spMkLst>
        </pc:spChg>
        <pc:spChg chg="add del mod modVis">
          <ac:chgData name="Francisco Treviño" userId="abe7146e798f448e" providerId="LiveId" clId="{97D938C7-5D03-44B5-AF06-85F2285E6FD2}" dt="2023-08-03T00:42:28.058" v="1004"/>
          <ac:spMkLst>
            <pc:docMk/>
            <pc:sldMk cId="271297599" sldId="745"/>
            <ac:spMk id="5" creationId="{98041C11-BCD6-63D8-7A16-050EA22732AD}"/>
          </ac:spMkLst>
        </pc:spChg>
        <pc:spChg chg="del">
          <ac:chgData name="Francisco Treviño" userId="abe7146e798f448e" providerId="LiveId" clId="{97D938C7-5D03-44B5-AF06-85F2285E6FD2}" dt="2023-08-03T00:42:04.643" v="862" actId="478"/>
          <ac:spMkLst>
            <pc:docMk/>
            <pc:sldMk cId="271297599" sldId="745"/>
            <ac:spMk id="8" creationId="{EB3FA82C-4582-20B0-47D7-74A996EFA3BE}"/>
          </ac:spMkLst>
        </pc:spChg>
        <pc:spChg chg="add del mod modVis">
          <ac:chgData name="Francisco Treviño" userId="abe7146e798f448e" providerId="LiveId" clId="{97D938C7-5D03-44B5-AF06-85F2285E6FD2}" dt="2023-08-03T00:42:33.633" v="1068"/>
          <ac:spMkLst>
            <pc:docMk/>
            <pc:sldMk cId="271297599" sldId="745"/>
            <ac:spMk id="9" creationId="{3764BA66-746E-600A-F173-93D25F92FBC9}"/>
          </ac:spMkLst>
        </pc:spChg>
        <pc:spChg chg="add del mod modVis">
          <ac:chgData name="Francisco Treviño" userId="abe7146e798f448e" providerId="LiveId" clId="{97D938C7-5D03-44B5-AF06-85F2285E6FD2}" dt="2023-08-03T00:42:35.516" v="1119"/>
          <ac:spMkLst>
            <pc:docMk/>
            <pc:sldMk cId="271297599" sldId="745"/>
            <ac:spMk id="12" creationId="{5006A616-F3F6-B956-4037-B901B7535C97}"/>
          </ac:spMkLst>
        </pc:spChg>
        <pc:spChg chg="add del mod modVis">
          <ac:chgData name="Francisco Treviño" userId="abe7146e798f448e" providerId="LiveId" clId="{97D938C7-5D03-44B5-AF06-85F2285E6FD2}" dt="2023-08-03T00:42:37.266" v="1172"/>
          <ac:spMkLst>
            <pc:docMk/>
            <pc:sldMk cId="271297599" sldId="745"/>
            <ac:spMk id="13" creationId="{AC0F919E-BC5D-B9F9-A24F-0951A0817882}"/>
          </ac:spMkLst>
        </pc:spChg>
        <pc:spChg chg="del">
          <ac:chgData name="Francisco Treviño" userId="abe7146e798f448e" providerId="LiveId" clId="{97D938C7-5D03-44B5-AF06-85F2285E6FD2}" dt="2023-08-03T00:42:19.663" v="909" actId="478"/>
          <ac:spMkLst>
            <pc:docMk/>
            <pc:sldMk cId="271297599" sldId="745"/>
            <ac:spMk id="16" creationId="{1A60D29C-B10D-9B4D-44F2-AF9535A39046}"/>
          </ac:spMkLst>
        </pc:spChg>
        <pc:graphicFrameChg chg="mod">
          <ac:chgData name="Francisco Treviño" userId="abe7146e798f448e" providerId="LiveId" clId="{97D938C7-5D03-44B5-AF06-85F2285E6FD2}" dt="2023-08-03T00:42:37.270" v="1174"/>
          <ac:graphicFrameMkLst>
            <pc:docMk/>
            <pc:sldMk cId="271297599" sldId="745"/>
            <ac:graphicFrameMk id="7" creationId="{56BD78A3-C4FF-27E8-1B40-A974254C4035}"/>
          </ac:graphicFrameMkLst>
        </pc:graphicFrameChg>
        <pc:picChg chg="del">
          <ac:chgData name="Francisco Treviño" userId="abe7146e798f448e" providerId="LiveId" clId="{97D938C7-5D03-44B5-AF06-85F2285E6FD2}" dt="2023-08-03T00:42:18.309" v="908" actId="478"/>
          <ac:picMkLst>
            <pc:docMk/>
            <pc:sldMk cId="271297599" sldId="745"/>
            <ac:picMk id="24" creationId="{FA6FABF4-FF22-EF4E-5B6C-BCF42EE7499F}"/>
          </ac:picMkLst>
        </pc:picChg>
      </pc:sldChg>
      <pc:sldChg chg="del">
        <pc:chgData name="Francisco Treviño" userId="abe7146e798f448e" providerId="LiveId" clId="{97D938C7-5D03-44B5-AF06-85F2285E6FD2}" dt="2023-08-03T00:40:34.989" v="823" actId="47"/>
        <pc:sldMkLst>
          <pc:docMk/>
          <pc:sldMk cId="1229925271" sldId="746"/>
        </pc:sldMkLst>
      </pc:sldChg>
      <pc:sldChg chg="addSp delSp modSp add mod ord">
        <pc:chgData name="Francisco Treviño" userId="abe7146e798f448e" providerId="LiveId" clId="{97D938C7-5D03-44B5-AF06-85F2285E6FD2}" dt="2023-08-03T00:43:48.959" v="1341"/>
        <pc:sldMkLst>
          <pc:docMk/>
          <pc:sldMk cId="1947306808" sldId="746"/>
        </pc:sldMkLst>
        <pc:spChg chg="add del mod modVis">
          <ac:chgData name="Francisco Treviño" userId="abe7146e798f448e" providerId="LiveId" clId="{97D938C7-5D03-44B5-AF06-85F2285E6FD2}" dt="2023-08-03T00:43:46.022" v="1238"/>
          <ac:spMkLst>
            <pc:docMk/>
            <pc:sldMk cId="1947306808" sldId="746"/>
            <ac:spMk id="2" creationId="{56405E6D-2AEA-9F82-1641-14BB19306A38}"/>
          </ac:spMkLst>
        </pc:spChg>
        <pc:spChg chg="add del mod modVis">
          <ac:chgData name="Francisco Treviño" userId="abe7146e798f448e" providerId="LiveId" clId="{97D938C7-5D03-44B5-AF06-85F2285E6FD2}" dt="2023-08-03T00:43:47.772" v="1290"/>
          <ac:spMkLst>
            <pc:docMk/>
            <pc:sldMk cId="1947306808" sldId="746"/>
            <ac:spMk id="3" creationId="{B161734D-062A-E8FF-C13C-4FDF8342F61E}"/>
          </ac:spMkLst>
        </pc:spChg>
        <pc:spChg chg="mod">
          <ac:chgData name="Francisco Treviño" userId="abe7146e798f448e" providerId="LiveId" clId="{97D938C7-5D03-44B5-AF06-85F2285E6FD2}" dt="2023-08-03T00:43:48.888" v="1298" actId="948"/>
          <ac:spMkLst>
            <pc:docMk/>
            <pc:sldMk cId="1947306808" sldId="746"/>
            <ac:spMk id="4" creationId="{7B84A045-2D43-9859-3469-84775715D19E}"/>
          </ac:spMkLst>
        </pc:spChg>
        <pc:spChg chg="add del mod modVis">
          <ac:chgData name="Francisco Treviño" userId="abe7146e798f448e" providerId="LiveId" clId="{97D938C7-5D03-44B5-AF06-85F2285E6FD2}" dt="2023-08-03T00:43:48.954" v="1339"/>
          <ac:spMkLst>
            <pc:docMk/>
            <pc:sldMk cId="1947306808" sldId="746"/>
            <ac:spMk id="5" creationId="{BD3ADB45-E580-352D-19C8-60469F3B770A}"/>
          </ac:spMkLst>
        </pc:spChg>
        <pc:graphicFrameChg chg="mod">
          <ac:chgData name="Francisco Treviño" userId="abe7146e798f448e" providerId="LiveId" clId="{97D938C7-5D03-44B5-AF06-85F2285E6FD2}" dt="2023-08-03T00:43:48.959" v="1341"/>
          <ac:graphicFrameMkLst>
            <pc:docMk/>
            <pc:sldMk cId="1947306808" sldId="746"/>
            <ac:graphicFrameMk id="7" creationId="{56BD78A3-C4FF-27E8-1B40-A974254C4035}"/>
          </ac:graphicFrameMkLst>
        </pc:graphicFrameChg>
      </pc:sldChg>
      <pc:sldChg chg="del">
        <pc:chgData name="Francisco Treviño" userId="abe7146e798f448e" providerId="LiveId" clId="{97D938C7-5D03-44B5-AF06-85F2285E6FD2}" dt="2023-08-03T00:40:33.696" v="820" actId="47"/>
        <pc:sldMkLst>
          <pc:docMk/>
          <pc:sldMk cId="2057678298" sldId="747"/>
        </pc:sldMkLst>
      </pc:sldChg>
      <pc:sldChg chg="addSp delSp modSp add mod ord">
        <pc:chgData name="Francisco Treviño" userId="abe7146e798f448e" providerId="LiveId" clId="{97D938C7-5D03-44B5-AF06-85F2285E6FD2}" dt="2023-08-03T02:12:08.407" v="2374"/>
        <pc:sldMkLst>
          <pc:docMk/>
          <pc:sldMk cId="3714809211" sldId="747"/>
        </pc:sldMkLst>
        <pc:spChg chg="mod ord">
          <ac:chgData name="Francisco Treviño" userId="abe7146e798f448e" providerId="LiveId" clId="{97D938C7-5D03-44B5-AF06-85F2285E6FD2}" dt="2023-08-03T02:12:08.382" v="2331" actId="948"/>
          <ac:spMkLst>
            <pc:docMk/>
            <pc:sldMk cId="3714809211" sldId="747"/>
            <ac:spMk id="2" creationId="{9A02571A-D1B6-8EB4-985A-7487325A2207}"/>
          </ac:spMkLst>
        </pc:spChg>
        <pc:spChg chg="del">
          <ac:chgData name="Francisco Treviño" userId="abe7146e798f448e" providerId="LiveId" clId="{97D938C7-5D03-44B5-AF06-85F2285E6FD2}" dt="2023-08-03T00:47:35.544" v="1346" actId="478"/>
          <ac:spMkLst>
            <pc:docMk/>
            <pc:sldMk cId="3714809211" sldId="747"/>
            <ac:spMk id="3" creationId="{9B673EDD-60F6-B255-CBBA-28655E439BD5}"/>
          </ac:spMkLst>
        </pc:spChg>
        <pc:spChg chg="mod ord">
          <ac:chgData name="Francisco Treviño" userId="abe7146e798f448e" providerId="LiveId" clId="{97D938C7-5D03-44B5-AF06-85F2285E6FD2}" dt="2023-08-03T02:12:00.893" v="2311" actId="1036"/>
          <ac:spMkLst>
            <pc:docMk/>
            <pc:sldMk cId="3714809211" sldId="747"/>
            <ac:spMk id="4" creationId="{0062FF9D-ABEA-7F67-9898-9929E730C9E7}"/>
          </ac:spMkLst>
        </pc:spChg>
        <pc:spChg chg="mod ord">
          <ac:chgData name="Francisco Treviño" userId="abe7146e798f448e" providerId="LiveId" clId="{97D938C7-5D03-44B5-AF06-85F2285E6FD2}" dt="2023-08-03T02:11:47.280" v="2295"/>
          <ac:spMkLst>
            <pc:docMk/>
            <pc:sldMk cId="3714809211" sldId="747"/>
            <ac:spMk id="5" creationId="{B3A1D89D-BDC4-9E00-401A-B3D38117685C}"/>
          </ac:spMkLst>
        </pc:spChg>
        <pc:spChg chg="del">
          <ac:chgData name="Francisco Treviño" userId="abe7146e798f448e" providerId="LiveId" clId="{97D938C7-5D03-44B5-AF06-85F2285E6FD2}" dt="2023-08-03T00:47:35.544" v="1346" actId="478"/>
          <ac:spMkLst>
            <pc:docMk/>
            <pc:sldMk cId="3714809211" sldId="747"/>
            <ac:spMk id="7" creationId="{4D369442-5F3D-8774-D053-41BE78D19587}"/>
          </ac:spMkLst>
        </pc:spChg>
        <pc:spChg chg="del">
          <ac:chgData name="Francisco Treviño" userId="abe7146e798f448e" providerId="LiveId" clId="{97D938C7-5D03-44B5-AF06-85F2285E6FD2}" dt="2023-08-03T00:47:35.544" v="1346" actId="478"/>
          <ac:spMkLst>
            <pc:docMk/>
            <pc:sldMk cId="3714809211" sldId="747"/>
            <ac:spMk id="8" creationId="{178D8151-4810-BB6F-BEFF-011C9EDDD84C}"/>
          </ac:spMkLst>
        </pc:spChg>
        <pc:spChg chg="add del mod modVis">
          <ac:chgData name="Francisco Treviño" userId="abe7146e798f448e" providerId="LiveId" clId="{97D938C7-5D03-44B5-AF06-85F2285E6FD2}" dt="2023-08-03T00:47:44.304" v="1400"/>
          <ac:spMkLst>
            <pc:docMk/>
            <pc:sldMk cId="3714809211" sldId="747"/>
            <ac:spMk id="11" creationId="{3DED9BCF-D75A-CC32-AE7C-831EB3AD97E8}"/>
          </ac:spMkLst>
        </pc:spChg>
        <pc:spChg chg="add mod ord">
          <ac:chgData name="Francisco Treviño" userId="abe7146e798f448e" providerId="LiveId" clId="{97D938C7-5D03-44B5-AF06-85F2285E6FD2}" dt="2023-08-03T02:11:47.282" v="2299"/>
          <ac:spMkLst>
            <pc:docMk/>
            <pc:sldMk cId="3714809211" sldId="747"/>
            <ac:spMk id="12" creationId="{52C3052F-18DA-CF43-89D6-0E851110616B}"/>
          </ac:spMkLst>
        </pc:spChg>
        <pc:spChg chg="add mod ord">
          <ac:chgData name="Francisco Treviño" userId="abe7146e798f448e" providerId="LiveId" clId="{97D938C7-5D03-44B5-AF06-85F2285E6FD2}" dt="2023-08-03T02:12:04.801" v="2322" actId="20577"/>
          <ac:spMkLst>
            <pc:docMk/>
            <pc:sldMk cId="3714809211" sldId="747"/>
            <ac:spMk id="13" creationId="{CED41CC1-80ED-C112-F7C8-D3094614299F}"/>
          </ac:spMkLst>
        </pc:spChg>
        <pc:spChg chg="add del mod modVis">
          <ac:chgData name="Francisco Treviño" userId="abe7146e798f448e" providerId="LiveId" clId="{97D938C7-5D03-44B5-AF06-85F2285E6FD2}" dt="2023-08-03T00:49:21.245" v="1596"/>
          <ac:spMkLst>
            <pc:docMk/>
            <pc:sldMk cId="3714809211" sldId="747"/>
            <ac:spMk id="14" creationId="{45D11D8C-D933-49C6-D250-47E371E67004}"/>
          </ac:spMkLst>
        </pc:spChg>
        <pc:spChg chg="del">
          <ac:chgData name="Francisco Treviño" userId="abe7146e798f448e" providerId="LiveId" clId="{97D938C7-5D03-44B5-AF06-85F2285E6FD2}" dt="2023-08-03T00:47:35.544" v="1346" actId="478"/>
          <ac:spMkLst>
            <pc:docMk/>
            <pc:sldMk cId="3714809211" sldId="747"/>
            <ac:spMk id="15" creationId="{61E4FB7E-50BD-A428-C0D7-8D67294A47C8}"/>
          </ac:spMkLst>
        </pc:spChg>
        <pc:spChg chg="del">
          <ac:chgData name="Francisco Treviño" userId="abe7146e798f448e" providerId="LiveId" clId="{97D938C7-5D03-44B5-AF06-85F2285E6FD2}" dt="2023-08-03T00:47:35.544" v="1346" actId="478"/>
          <ac:spMkLst>
            <pc:docMk/>
            <pc:sldMk cId="3714809211" sldId="747"/>
            <ac:spMk id="18" creationId="{8A251B26-89EC-0946-161B-616A21C8752C}"/>
          </ac:spMkLst>
        </pc:spChg>
        <pc:spChg chg="add del mod modVis">
          <ac:chgData name="Francisco Treviño" userId="abe7146e798f448e" providerId="LiveId" clId="{97D938C7-5D03-44B5-AF06-85F2285E6FD2}" dt="2023-08-03T02:12:08.405" v="2372"/>
          <ac:spMkLst>
            <pc:docMk/>
            <pc:sldMk cId="3714809211" sldId="747"/>
            <ac:spMk id="19" creationId="{5FCB3040-7935-ECF1-B258-46B322105647}"/>
          </ac:spMkLst>
        </pc:spChg>
        <pc:spChg chg="del">
          <ac:chgData name="Francisco Treviño" userId="abe7146e798f448e" providerId="LiveId" clId="{97D938C7-5D03-44B5-AF06-85F2285E6FD2}" dt="2023-08-03T00:47:35.544" v="1346" actId="478"/>
          <ac:spMkLst>
            <pc:docMk/>
            <pc:sldMk cId="3714809211" sldId="747"/>
            <ac:spMk id="23" creationId="{EAFC7009-C3D2-44A1-327E-A169FBDD71F8}"/>
          </ac:spMkLst>
        </pc:spChg>
        <pc:spChg chg="del">
          <ac:chgData name="Francisco Treviño" userId="abe7146e798f448e" providerId="LiveId" clId="{97D938C7-5D03-44B5-AF06-85F2285E6FD2}" dt="2023-08-03T00:47:35.544" v="1346" actId="478"/>
          <ac:spMkLst>
            <pc:docMk/>
            <pc:sldMk cId="3714809211" sldId="747"/>
            <ac:spMk id="24" creationId="{6CA189B9-2458-6DEF-0478-F0E4DEF9EBF8}"/>
          </ac:spMkLst>
        </pc:spChg>
        <pc:spChg chg="del">
          <ac:chgData name="Francisco Treviño" userId="abe7146e798f448e" providerId="LiveId" clId="{97D938C7-5D03-44B5-AF06-85F2285E6FD2}" dt="2023-08-03T00:47:35.544" v="1346" actId="478"/>
          <ac:spMkLst>
            <pc:docMk/>
            <pc:sldMk cId="3714809211" sldId="747"/>
            <ac:spMk id="25" creationId="{F002D22C-1292-EE47-CA36-22A35DFB1593}"/>
          </ac:spMkLst>
        </pc:spChg>
        <pc:graphicFrameChg chg="mod">
          <ac:chgData name="Francisco Treviño" userId="abe7146e798f448e" providerId="LiveId" clId="{97D938C7-5D03-44B5-AF06-85F2285E6FD2}" dt="2023-08-03T02:12:08.407" v="2374"/>
          <ac:graphicFrameMkLst>
            <pc:docMk/>
            <pc:sldMk cId="3714809211" sldId="747"/>
            <ac:graphicFrameMk id="6" creationId="{6340F78E-8A1D-407C-D535-79FCE988D987}"/>
          </ac:graphicFrameMkLst>
        </pc:graphicFrameChg>
        <pc:picChg chg="add del mod ord">
          <ac:chgData name="Francisco Treviño" userId="abe7146e798f448e" providerId="LiveId" clId="{97D938C7-5D03-44B5-AF06-85F2285E6FD2}" dt="2023-08-03T02:11:40.038" v="2285" actId="478"/>
          <ac:picMkLst>
            <pc:docMk/>
            <pc:sldMk cId="3714809211" sldId="747"/>
            <ac:picMk id="10" creationId="{07F04372-2F02-F7E7-B27E-992211453324}"/>
          </ac:picMkLst>
        </pc:picChg>
        <pc:picChg chg="add mod ord">
          <ac:chgData name="Francisco Treviño" userId="abe7146e798f448e" providerId="LiveId" clId="{97D938C7-5D03-44B5-AF06-85F2285E6FD2}" dt="2023-08-03T02:11:50.572" v="2306" actId="1076"/>
          <ac:picMkLst>
            <pc:docMk/>
            <pc:sldMk cId="3714809211" sldId="747"/>
            <ac:picMk id="17" creationId="{A08E12C5-C0E6-293A-980F-4912843DCDAE}"/>
          </ac:picMkLst>
        </pc:picChg>
      </pc:sldChg>
      <pc:sldChg chg="addSp delSp modSp add del mod">
        <pc:chgData name="Francisco Treviño" userId="abe7146e798f448e" providerId="LiveId" clId="{97D938C7-5D03-44B5-AF06-85F2285E6FD2}" dt="2023-08-03T00:51:04.852" v="1810" actId="47"/>
        <pc:sldMkLst>
          <pc:docMk/>
          <pc:sldMk cId="290437673" sldId="748"/>
        </pc:sldMkLst>
        <pc:spChg chg="mod ord">
          <ac:chgData name="Francisco Treviño" userId="abe7146e798f448e" providerId="LiveId" clId="{97D938C7-5D03-44B5-AF06-85F2285E6FD2}" dt="2023-08-03T00:49:29.818" v="1671" actId="948"/>
          <ac:spMkLst>
            <pc:docMk/>
            <pc:sldMk cId="290437673" sldId="748"/>
            <ac:spMk id="2" creationId="{9A02571A-D1B6-8EB4-985A-7487325A2207}"/>
          </ac:spMkLst>
        </pc:spChg>
        <pc:spChg chg="mod ord">
          <ac:chgData name="Francisco Treviño" userId="abe7146e798f448e" providerId="LiveId" clId="{97D938C7-5D03-44B5-AF06-85F2285E6FD2}" dt="2023-08-03T00:49:41.695" v="1719" actId="14100"/>
          <ac:spMkLst>
            <pc:docMk/>
            <pc:sldMk cId="290437673" sldId="748"/>
            <ac:spMk id="4" creationId="{0062FF9D-ABEA-7F67-9898-9929E730C9E7}"/>
          </ac:spMkLst>
        </pc:spChg>
        <pc:spChg chg="mod ord">
          <ac:chgData name="Francisco Treviño" userId="abe7146e798f448e" providerId="LiveId" clId="{97D938C7-5D03-44B5-AF06-85F2285E6FD2}" dt="2023-08-03T00:49:11.266" v="1511"/>
          <ac:spMkLst>
            <pc:docMk/>
            <pc:sldMk cId="290437673" sldId="748"/>
            <ac:spMk id="5" creationId="{B3A1D89D-BDC4-9E00-401A-B3D38117685C}"/>
          </ac:spMkLst>
        </pc:spChg>
        <pc:spChg chg="add del mod modVis">
          <ac:chgData name="Francisco Treviño" userId="abe7146e798f448e" providerId="LiveId" clId="{97D938C7-5D03-44B5-AF06-85F2285E6FD2}" dt="2023-08-03T00:49:11.271" v="1521"/>
          <ac:spMkLst>
            <pc:docMk/>
            <pc:sldMk cId="290437673" sldId="748"/>
            <ac:spMk id="8" creationId="{B4AA7518-AB95-240F-F0D8-A008B7541617}"/>
          </ac:spMkLst>
        </pc:spChg>
        <pc:spChg chg="add del mod modVis">
          <ac:chgData name="Francisco Treviño" userId="abe7146e798f448e" providerId="LiveId" clId="{97D938C7-5D03-44B5-AF06-85F2285E6FD2}" dt="2023-08-03T00:49:27.298" v="1655"/>
          <ac:spMkLst>
            <pc:docMk/>
            <pc:sldMk cId="290437673" sldId="748"/>
            <ac:spMk id="9" creationId="{F254032A-DF28-B584-8A93-B0E8767EC8C5}"/>
          </ac:spMkLst>
        </pc:spChg>
        <pc:spChg chg="add del mod modVis">
          <ac:chgData name="Francisco Treviño" userId="abe7146e798f448e" providerId="LiveId" clId="{97D938C7-5D03-44B5-AF06-85F2285E6FD2}" dt="2023-08-03T00:49:29.879" v="1712"/>
          <ac:spMkLst>
            <pc:docMk/>
            <pc:sldMk cId="290437673" sldId="748"/>
            <ac:spMk id="11" creationId="{80B0AFE9-7483-EEA6-FD1C-C7C506A63614}"/>
          </ac:spMkLst>
        </pc:spChg>
        <pc:spChg chg="del mod ord">
          <ac:chgData name="Francisco Treviño" userId="abe7146e798f448e" providerId="LiveId" clId="{97D938C7-5D03-44B5-AF06-85F2285E6FD2}" dt="2023-08-03T00:49:43.631" v="1720" actId="478"/>
          <ac:spMkLst>
            <pc:docMk/>
            <pc:sldMk cId="290437673" sldId="748"/>
            <ac:spMk id="12" creationId="{52C3052F-18DA-CF43-89D6-0E851110616B}"/>
          </ac:spMkLst>
        </pc:spChg>
        <pc:spChg chg="mod ord">
          <ac:chgData name="Francisco Treviño" userId="abe7146e798f448e" providerId="LiveId" clId="{97D938C7-5D03-44B5-AF06-85F2285E6FD2}" dt="2023-08-03T00:49:55.953" v="1755" actId="20577"/>
          <ac:spMkLst>
            <pc:docMk/>
            <pc:sldMk cId="290437673" sldId="748"/>
            <ac:spMk id="13" creationId="{CED41CC1-80ED-C112-F7C8-D3094614299F}"/>
          </ac:spMkLst>
        </pc:spChg>
        <pc:graphicFrameChg chg="mod">
          <ac:chgData name="Francisco Treviño" userId="abe7146e798f448e" providerId="LiveId" clId="{97D938C7-5D03-44B5-AF06-85F2285E6FD2}" dt="2023-08-03T00:49:29.882" v="1714"/>
          <ac:graphicFrameMkLst>
            <pc:docMk/>
            <pc:sldMk cId="290437673" sldId="748"/>
            <ac:graphicFrameMk id="6" creationId="{6340F78E-8A1D-407C-D535-79FCE988D987}"/>
          </ac:graphicFrameMkLst>
        </pc:graphicFrameChg>
        <pc:picChg chg="add mod ord">
          <ac:chgData name="Francisco Treviño" userId="abe7146e798f448e" providerId="LiveId" clId="{97D938C7-5D03-44B5-AF06-85F2285E6FD2}" dt="2023-08-03T00:49:13.037" v="1524" actId="1076"/>
          <ac:picMkLst>
            <pc:docMk/>
            <pc:sldMk cId="290437673" sldId="748"/>
            <ac:picMk id="7" creationId="{3BD02EBC-011B-DA8E-71E2-CAA0F47D2E51}"/>
          </ac:picMkLst>
        </pc:picChg>
        <pc:picChg chg="add del">
          <ac:chgData name="Francisco Treviño" userId="abe7146e798f448e" providerId="LiveId" clId="{97D938C7-5D03-44B5-AF06-85F2285E6FD2}" dt="2023-08-03T00:49:03.810" v="1464" actId="478"/>
          <ac:picMkLst>
            <pc:docMk/>
            <pc:sldMk cId="290437673" sldId="748"/>
            <ac:picMk id="10" creationId="{07F04372-2F02-F7E7-B27E-992211453324}"/>
          </ac:picMkLst>
        </pc:picChg>
      </pc:sldChg>
      <pc:sldChg chg="addSp modSp add mod">
        <pc:chgData name="Francisco Treviño" userId="abe7146e798f448e" providerId="LiveId" clId="{97D938C7-5D03-44B5-AF06-85F2285E6FD2}" dt="2023-08-03T02:13:50.476" v="2629" actId="20577"/>
        <pc:sldMkLst>
          <pc:docMk/>
          <pc:sldMk cId="2176863005" sldId="749"/>
        </pc:sldMkLst>
        <pc:spChg chg="add mod">
          <ac:chgData name="Francisco Treviño" userId="abe7146e798f448e" providerId="LiveId" clId="{97D938C7-5D03-44B5-AF06-85F2285E6FD2}" dt="2023-08-03T02:13:38.086" v="2597" actId="14100"/>
          <ac:spMkLst>
            <pc:docMk/>
            <pc:sldMk cId="2176863005" sldId="749"/>
            <ac:spMk id="3" creationId="{3FC4CBA0-BBBF-DA8E-C062-088B3D57C36E}"/>
          </ac:spMkLst>
        </pc:spChg>
        <pc:spChg chg="mod">
          <ac:chgData name="Francisco Treviño" userId="abe7146e798f448e" providerId="LiveId" clId="{97D938C7-5D03-44B5-AF06-85F2285E6FD2}" dt="2023-08-03T02:13:50.476" v="2629" actId="20577"/>
          <ac:spMkLst>
            <pc:docMk/>
            <pc:sldMk cId="2176863005" sldId="749"/>
            <ac:spMk id="13" creationId="{CED41CC1-80ED-C112-F7C8-D3094614299F}"/>
          </ac:spMkLst>
        </pc:spChg>
      </pc:sldChg>
      <pc:sldChg chg="del">
        <pc:chgData name="Francisco Treviño" userId="abe7146e798f448e" providerId="LiveId" clId="{97D938C7-5D03-44B5-AF06-85F2285E6FD2}" dt="2023-08-03T00:40:35.778" v="825" actId="47"/>
        <pc:sldMkLst>
          <pc:docMk/>
          <pc:sldMk cId="2778663470" sldId="749"/>
        </pc:sldMkLst>
      </pc:sldChg>
      <pc:sldChg chg="addSp delSp modSp add mod ord">
        <pc:chgData name="Francisco Treviño" userId="abe7146e798f448e" providerId="LiveId" clId="{97D938C7-5D03-44B5-AF06-85F2285E6FD2}" dt="2023-08-03T00:51:13.707" v="1866"/>
        <pc:sldMkLst>
          <pc:docMk/>
          <pc:sldMk cId="2954945805" sldId="750"/>
        </pc:sldMkLst>
        <pc:spChg chg="add del mod modVis">
          <ac:chgData name="Francisco Treviño" userId="abe7146e798f448e" providerId="LiveId" clId="{97D938C7-5D03-44B5-AF06-85F2285E6FD2}" dt="2023-08-03T00:51:13.703" v="1864"/>
          <ac:spMkLst>
            <pc:docMk/>
            <pc:sldMk cId="2954945805" sldId="750"/>
            <ac:spMk id="2" creationId="{D07D3D58-42D7-BE3B-1E25-0B1E2A978F0F}"/>
          </ac:spMkLst>
        </pc:spChg>
        <pc:spChg chg="mod">
          <ac:chgData name="Francisco Treviño" userId="abe7146e798f448e" providerId="LiveId" clId="{97D938C7-5D03-44B5-AF06-85F2285E6FD2}" dt="2023-08-03T00:51:13.649" v="1823" actId="948"/>
          <ac:spMkLst>
            <pc:docMk/>
            <pc:sldMk cId="2954945805" sldId="750"/>
            <ac:spMk id="4" creationId="{7B84A045-2D43-9859-3469-84775715D19E}"/>
          </ac:spMkLst>
        </pc:spChg>
        <pc:graphicFrameChg chg="mod">
          <ac:chgData name="Francisco Treviño" userId="abe7146e798f448e" providerId="LiveId" clId="{97D938C7-5D03-44B5-AF06-85F2285E6FD2}" dt="2023-08-03T00:51:13.707" v="1866"/>
          <ac:graphicFrameMkLst>
            <pc:docMk/>
            <pc:sldMk cId="2954945805" sldId="750"/>
            <ac:graphicFrameMk id="7" creationId="{56BD78A3-C4FF-27E8-1B40-A974254C4035}"/>
          </ac:graphicFrameMkLst>
        </pc:graphicFrameChg>
      </pc:sldChg>
      <pc:sldChg chg="del">
        <pc:chgData name="Francisco Treviño" userId="abe7146e798f448e" providerId="LiveId" clId="{97D938C7-5D03-44B5-AF06-85F2285E6FD2}" dt="2023-08-03T00:40:36.052" v="826" actId="47"/>
        <pc:sldMkLst>
          <pc:docMk/>
          <pc:sldMk cId="3498015385" sldId="750"/>
        </pc:sldMkLst>
      </pc:sldChg>
      <pc:sldChg chg="del">
        <pc:chgData name="Francisco Treviño" userId="abe7146e798f448e" providerId="LiveId" clId="{97D938C7-5D03-44B5-AF06-85F2285E6FD2}" dt="2023-08-03T00:40:36.312" v="827" actId="47"/>
        <pc:sldMkLst>
          <pc:docMk/>
          <pc:sldMk cId="1261451456" sldId="751"/>
        </pc:sldMkLst>
      </pc:sldChg>
      <pc:sldChg chg="addSp delSp modSp add mod ord">
        <pc:chgData name="Francisco Treviño" userId="abe7146e798f448e" providerId="LiveId" clId="{97D938C7-5D03-44B5-AF06-85F2285E6FD2}" dt="2023-08-03T02:27:14.710" v="4153" actId="14734"/>
        <pc:sldMkLst>
          <pc:docMk/>
          <pc:sldMk cId="3074357229" sldId="751"/>
        </pc:sldMkLst>
        <pc:spChg chg="mod">
          <ac:chgData name="Francisco Treviño" userId="abe7146e798f448e" providerId="LiveId" clId="{97D938C7-5D03-44B5-AF06-85F2285E6FD2}" dt="2023-08-03T00:53:08.274" v="2108" actId="948"/>
          <ac:spMkLst>
            <pc:docMk/>
            <pc:sldMk cId="3074357229" sldId="751"/>
            <ac:spMk id="2" creationId="{9A02571A-D1B6-8EB4-985A-7487325A2207}"/>
          </ac:spMkLst>
        </pc:spChg>
        <pc:spChg chg="del">
          <ac:chgData name="Francisco Treviño" userId="abe7146e798f448e" providerId="LiveId" clId="{97D938C7-5D03-44B5-AF06-85F2285E6FD2}" dt="2023-08-03T00:51:36.203" v="1981" actId="478"/>
          <ac:spMkLst>
            <pc:docMk/>
            <pc:sldMk cId="3074357229" sldId="751"/>
            <ac:spMk id="3" creationId="{9B673EDD-60F6-B255-CBBA-28655E439BD5}"/>
          </ac:spMkLst>
        </pc:spChg>
        <pc:spChg chg="del">
          <ac:chgData name="Francisco Treviño" userId="abe7146e798f448e" providerId="LiveId" clId="{97D938C7-5D03-44B5-AF06-85F2285E6FD2}" dt="2023-08-03T00:51:40.001" v="1984" actId="478"/>
          <ac:spMkLst>
            <pc:docMk/>
            <pc:sldMk cId="3074357229" sldId="751"/>
            <ac:spMk id="4" creationId="{0062FF9D-ABEA-7F67-9898-9929E730C9E7}"/>
          </ac:spMkLst>
        </pc:spChg>
        <pc:spChg chg="del">
          <ac:chgData name="Francisco Treviño" userId="abe7146e798f448e" providerId="LiveId" clId="{97D938C7-5D03-44B5-AF06-85F2285E6FD2}" dt="2023-08-03T00:51:37.613" v="1982" actId="478"/>
          <ac:spMkLst>
            <pc:docMk/>
            <pc:sldMk cId="3074357229" sldId="751"/>
            <ac:spMk id="7" creationId="{4D369442-5F3D-8774-D053-41BE78D19587}"/>
          </ac:spMkLst>
        </pc:spChg>
        <pc:spChg chg="del">
          <ac:chgData name="Francisco Treviño" userId="abe7146e798f448e" providerId="LiveId" clId="{97D938C7-5D03-44B5-AF06-85F2285E6FD2}" dt="2023-08-03T00:51:39.244" v="1983" actId="478"/>
          <ac:spMkLst>
            <pc:docMk/>
            <pc:sldMk cId="3074357229" sldId="751"/>
            <ac:spMk id="8" creationId="{178D8151-4810-BB6F-BEFF-011C9EDDD84C}"/>
          </ac:spMkLst>
        </pc:spChg>
        <pc:spChg chg="add del mod modVis">
          <ac:chgData name="Francisco Treviño" userId="abe7146e798f448e" providerId="LiveId" clId="{97D938C7-5D03-44B5-AF06-85F2285E6FD2}" dt="2023-08-03T00:51:32.427" v="1919"/>
          <ac:spMkLst>
            <pc:docMk/>
            <pc:sldMk cId="3074357229" sldId="751"/>
            <ac:spMk id="9" creationId="{C2D2AAF5-3ACF-1A1C-1AAB-E8B9CBB86CA3}"/>
          </ac:spMkLst>
        </pc:spChg>
        <pc:spChg chg="add del mod modVis">
          <ac:chgData name="Francisco Treviño" userId="abe7146e798f448e" providerId="LiveId" clId="{97D938C7-5D03-44B5-AF06-85F2285E6FD2}" dt="2023-08-03T00:51:34.489" v="1978"/>
          <ac:spMkLst>
            <pc:docMk/>
            <pc:sldMk cId="3074357229" sldId="751"/>
            <ac:spMk id="10" creationId="{693C60F5-8BBA-395D-4BF8-C2900B08D53D}"/>
          </ac:spMkLst>
        </pc:spChg>
        <pc:spChg chg="add del mod modVis">
          <ac:chgData name="Francisco Treviño" userId="abe7146e798f448e" providerId="LiveId" clId="{97D938C7-5D03-44B5-AF06-85F2285E6FD2}" dt="2023-08-03T00:53:08.329" v="2149"/>
          <ac:spMkLst>
            <pc:docMk/>
            <pc:sldMk cId="3074357229" sldId="751"/>
            <ac:spMk id="12" creationId="{9495AAC9-835A-A244-BC4B-B2CF5CF5DE6D}"/>
          </ac:spMkLst>
        </pc:spChg>
        <pc:spChg chg="del">
          <ac:chgData name="Francisco Treviño" userId="abe7146e798f448e" providerId="LiveId" clId="{97D938C7-5D03-44B5-AF06-85F2285E6FD2}" dt="2023-08-03T00:51:39.244" v="1983" actId="478"/>
          <ac:spMkLst>
            <pc:docMk/>
            <pc:sldMk cId="3074357229" sldId="751"/>
            <ac:spMk id="15" creationId="{61E4FB7E-50BD-A428-C0D7-8D67294A47C8}"/>
          </ac:spMkLst>
        </pc:spChg>
        <pc:spChg chg="del">
          <ac:chgData name="Francisco Treviño" userId="abe7146e798f448e" providerId="LiveId" clId="{97D938C7-5D03-44B5-AF06-85F2285E6FD2}" dt="2023-08-03T00:51:39.244" v="1983" actId="478"/>
          <ac:spMkLst>
            <pc:docMk/>
            <pc:sldMk cId="3074357229" sldId="751"/>
            <ac:spMk id="18" creationId="{8A251B26-89EC-0946-161B-616A21C8752C}"/>
          </ac:spMkLst>
        </pc:spChg>
        <pc:spChg chg="del">
          <ac:chgData name="Francisco Treviño" userId="abe7146e798f448e" providerId="LiveId" clId="{97D938C7-5D03-44B5-AF06-85F2285E6FD2}" dt="2023-08-03T00:51:39.244" v="1983" actId="478"/>
          <ac:spMkLst>
            <pc:docMk/>
            <pc:sldMk cId="3074357229" sldId="751"/>
            <ac:spMk id="23" creationId="{EAFC7009-C3D2-44A1-327E-A169FBDD71F8}"/>
          </ac:spMkLst>
        </pc:spChg>
        <pc:spChg chg="del">
          <ac:chgData name="Francisco Treviño" userId="abe7146e798f448e" providerId="LiveId" clId="{97D938C7-5D03-44B5-AF06-85F2285E6FD2}" dt="2023-08-03T00:51:39.244" v="1983" actId="478"/>
          <ac:spMkLst>
            <pc:docMk/>
            <pc:sldMk cId="3074357229" sldId="751"/>
            <ac:spMk id="24" creationId="{6CA189B9-2458-6DEF-0478-F0E4DEF9EBF8}"/>
          </ac:spMkLst>
        </pc:spChg>
        <pc:spChg chg="del">
          <ac:chgData name="Francisco Treviño" userId="abe7146e798f448e" providerId="LiveId" clId="{97D938C7-5D03-44B5-AF06-85F2285E6FD2}" dt="2023-08-03T00:51:39.244" v="1983" actId="478"/>
          <ac:spMkLst>
            <pc:docMk/>
            <pc:sldMk cId="3074357229" sldId="751"/>
            <ac:spMk id="25" creationId="{F002D22C-1292-EE47-CA36-22A35DFB1593}"/>
          </ac:spMkLst>
        </pc:spChg>
        <pc:graphicFrameChg chg="mod">
          <ac:chgData name="Francisco Treviño" userId="abe7146e798f448e" providerId="LiveId" clId="{97D938C7-5D03-44B5-AF06-85F2285E6FD2}" dt="2023-08-03T00:53:08.333" v="2151"/>
          <ac:graphicFrameMkLst>
            <pc:docMk/>
            <pc:sldMk cId="3074357229" sldId="751"/>
            <ac:graphicFrameMk id="6" creationId="{6340F78E-8A1D-407C-D535-79FCE988D987}"/>
          </ac:graphicFrameMkLst>
        </pc:graphicFrameChg>
        <pc:graphicFrameChg chg="add mod modGraphic">
          <ac:chgData name="Francisco Treviño" userId="abe7146e798f448e" providerId="LiveId" clId="{97D938C7-5D03-44B5-AF06-85F2285E6FD2}" dt="2023-08-03T02:27:14.710" v="4153" actId="14734"/>
          <ac:graphicFrameMkLst>
            <pc:docMk/>
            <pc:sldMk cId="3074357229" sldId="751"/>
            <ac:graphicFrameMk id="11" creationId="{B93DA08B-97F0-D0B6-FC40-4E9A1DC70A8A}"/>
          </ac:graphicFrameMkLst>
        </pc:graphicFrameChg>
      </pc:sldChg>
      <pc:sldChg chg="del">
        <pc:chgData name="Francisco Treviño" userId="abe7146e798f448e" providerId="LiveId" clId="{97D938C7-5D03-44B5-AF06-85F2285E6FD2}" dt="2023-08-03T00:40:37.516" v="831" actId="47"/>
        <pc:sldMkLst>
          <pc:docMk/>
          <pc:sldMk cId="1432372416" sldId="752"/>
        </pc:sldMkLst>
      </pc:sldChg>
      <pc:sldChg chg="add">
        <pc:chgData name="Francisco Treviño" userId="abe7146e798f448e" providerId="LiveId" clId="{97D938C7-5D03-44B5-AF06-85F2285E6FD2}" dt="2023-08-03T00:55:49.503" v="2214"/>
        <pc:sldMkLst>
          <pc:docMk/>
          <pc:sldMk cId="1619085936" sldId="752"/>
        </pc:sldMkLst>
      </pc:sldChg>
      <pc:sldChg chg="addSp delSp modSp new add del mod modTransition delAnim modAnim">
        <pc:chgData name="Francisco Treviño" userId="abe7146e798f448e" providerId="LiveId" clId="{97D938C7-5D03-44B5-AF06-85F2285E6FD2}" dt="2023-08-03T02:09:38.859" v="2228" actId="47"/>
        <pc:sldMkLst>
          <pc:docMk/>
          <pc:sldMk cId="1023109472" sldId="753"/>
        </pc:sldMkLst>
        <pc:spChg chg="del">
          <ac:chgData name="Francisco Treviño" userId="abe7146e798f448e" providerId="LiveId" clId="{97D938C7-5D03-44B5-AF06-85F2285E6FD2}" dt="2023-08-03T01:58:38.682" v="2223"/>
          <ac:spMkLst>
            <pc:docMk/>
            <pc:sldMk cId="1023109472" sldId="753"/>
            <ac:spMk id="3" creationId="{512E4CB3-2C37-2273-49F6-8CB24237FB27}"/>
          </ac:spMkLst>
        </pc:spChg>
        <pc:spChg chg="add del mod">
          <ac:chgData name="Francisco Treviño" userId="abe7146e798f448e" providerId="LiveId" clId="{97D938C7-5D03-44B5-AF06-85F2285E6FD2}" dt="2023-08-03T02:08:44.114" v="2225"/>
          <ac:spMkLst>
            <pc:docMk/>
            <pc:sldMk cId="1023109472" sldId="753"/>
            <ac:spMk id="7" creationId="{160E2146-C85A-38D1-3A11-88405EC35262}"/>
          </ac:spMkLst>
        </pc:spChg>
        <pc:spChg chg="add mod">
          <ac:chgData name="Francisco Treviño" userId="abe7146e798f448e" providerId="LiveId" clId="{97D938C7-5D03-44B5-AF06-85F2285E6FD2}" dt="2023-08-03T02:09:33.757" v="2227" actId="478"/>
          <ac:spMkLst>
            <pc:docMk/>
            <pc:sldMk cId="1023109472" sldId="753"/>
            <ac:spMk id="10" creationId="{6D44CF0F-7E50-8B9F-4EFD-A09BECC3AD99}"/>
          </ac:spMkLst>
        </pc:spChg>
        <pc:picChg chg="add del mod">
          <ac:chgData name="Francisco Treviño" userId="abe7146e798f448e" providerId="LiveId" clId="{97D938C7-5D03-44B5-AF06-85F2285E6FD2}" dt="2023-08-03T01:58:39.942" v="2224" actId="478"/>
          <ac:picMkLst>
            <pc:docMk/>
            <pc:sldMk cId="1023109472" sldId="753"/>
            <ac:picMk id="5" creationId="{B2CF53D6-15E1-8B2B-D19C-B3D932E97F6B}"/>
          </ac:picMkLst>
        </pc:picChg>
        <pc:picChg chg="add del mod">
          <ac:chgData name="Francisco Treviño" userId="abe7146e798f448e" providerId="LiveId" clId="{97D938C7-5D03-44B5-AF06-85F2285E6FD2}" dt="2023-08-03T02:09:33.757" v="2227" actId="478"/>
          <ac:picMkLst>
            <pc:docMk/>
            <pc:sldMk cId="1023109472" sldId="753"/>
            <ac:picMk id="8" creationId="{FFEA2988-11A9-4409-B900-F80AE6DC30FC}"/>
          </ac:picMkLst>
        </pc:picChg>
      </pc:sldChg>
      <pc:sldChg chg="addSp delSp modSp add mod">
        <pc:chgData name="Francisco Treviño" userId="abe7146e798f448e" providerId="LiveId" clId="{97D938C7-5D03-44B5-AF06-85F2285E6FD2}" dt="2023-08-03T02:20:07.916" v="3459" actId="20577"/>
        <pc:sldMkLst>
          <pc:docMk/>
          <pc:sldMk cId="1197140086" sldId="753"/>
        </pc:sldMkLst>
        <pc:spChg chg="mod ord">
          <ac:chgData name="Francisco Treviño" userId="abe7146e798f448e" providerId="LiveId" clId="{97D938C7-5D03-44B5-AF06-85F2285E6FD2}" dt="2023-08-03T02:13:06.737" v="2575"/>
          <ac:spMkLst>
            <pc:docMk/>
            <pc:sldMk cId="1197140086" sldId="753"/>
            <ac:spMk id="2" creationId="{9A02571A-D1B6-8EB4-985A-7487325A2207}"/>
          </ac:spMkLst>
        </pc:spChg>
        <pc:spChg chg="mod ord">
          <ac:chgData name="Francisco Treviño" userId="abe7146e798f448e" providerId="LiveId" clId="{97D938C7-5D03-44B5-AF06-85F2285E6FD2}" dt="2023-08-03T02:13:21.254" v="2594" actId="14100"/>
          <ac:spMkLst>
            <pc:docMk/>
            <pc:sldMk cId="1197140086" sldId="753"/>
            <ac:spMk id="4" creationId="{0062FF9D-ABEA-7F67-9898-9929E730C9E7}"/>
          </ac:spMkLst>
        </pc:spChg>
        <pc:spChg chg="mod ord">
          <ac:chgData name="Francisco Treviño" userId="abe7146e798f448e" providerId="LiveId" clId="{97D938C7-5D03-44B5-AF06-85F2285E6FD2}" dt="2023-08-03T02:13:06.737" v="2577"/>
          <ac:spMkLst>
            <pc:docMk/>
            <pc:sldMk cId="1197140086" sldId="753"/>
            <ac:spMk id="5" creationId="{B3A1D89D-BDC4-9E00-401A-B3D38117685C}"/>
          </ac:spMkLst>
        </pc:spChg>
        <pc:spChg chg="add del mod modVis">
          <ac:chgData name="Francisco Treviño" userId="abe7146e798f448e" providerId="LiveId" clId="{97D938C7-5D03-44B5-AF06-85F2285E6FD2}" dt="2023-08-03T02:13:06.739" v="2587"/>
          <ac:spMkLst>
            <pc:docMk/>
            <pc:sldMk cId="1197140086" sldId="753"/>
            <ac:spMk id="8" creationId="{C67EE1C9-54FC-1B49-579A-D1721A8E75AC}"/>
          </ac:spMkLst>
        </pc:spChg>
        <pc:spChg chg="del mod ord">
          <ac:chgData name="Francisco Treviño" userId="abe7146e798f448e" providerId="LiveId" clId="{97D938C7-5D03-44B5-AF06-85F2285E6FD2}" dt="2023-08-03T02:14:18.719" v="2757" actId="478"/>
          <ac:spMkLst>
            <pc:docMk/>
            <pc:sldMk cId="1197140086" sldId="753"/>
            <ac:spMk id="12" creationId="{52C3052F-18DA-CF43-89D6-0E851110616B}"/>
          </ac:spMkLst>
        </pc:spChg>
        <pc:spChg chg="mod ord">
          <ac:chgData name="Francisco Treviño" userId="abe7146e798f448e" providerId="LiveId" clId="{97D938C7-5D03-44B5-AF06-85F2285E6FD2}" dt="2023-08-03T02:20:07.916" v="3459" actId="20577"/>
          <ac:spMkLst>
            <pc:docMk/>
            <pc:sldMk cId="1197140086" sldId="753"/>
            <ac:spMk id="13" creationId="{CED41CC1-80ED-C112-F7C8-D3094614299F}"/>
          </ac:spMkLst>
        </pc:spChg>
        <pc:graphicFrameChg chg="mod">
          <ac:chgData name="Francisco Treviño" userId="abe7146e798f448e" providerId="LiveId" clId="{97D938C7-5D03-44B5-AF06-85F2285E6FD2}" dt="2023-08-03T02:13:06.740" v="2589"/>
          <ac:graphicFrameMkLst>
            <pc:docMk/>
            <pc:sldMk cId="1197140086" sldId="753"/>
            <ac:graphicFrameMk id="6" creationId="{6340F78E-8A1D-407C-D535-79FCE988D987}"/>
          </ac:graphicFrameMkLst>
        </pc:graphicFrameChg>
        <pc:picChg chg="add mod ord">
          <ac:chgData name="Francisco Treviño" userId="abe7146e798f448e" providerId="LiveId" clId="{97D938C7-5D03-44B5-AF06-85F2285E6FD2}" dt="2023-08-03T02:13:12.405" v="2591" actId="1076"/>
          <ac:picMkLst>
            <pc:docMk/>
            <pc:sldMk cId="1197140086" sldId="753"/>
            <ac:picMk id="7" creationId="{4A158403-20EF-C8FF-E6EA-6AFC62DA49A2}"/>
          </ac:picMkLst>
        </pc:picChg>
        <pc:picChg chg="del">
          <ac:chgData name="Francisco Treviño" userId="abe7146e798f448e" providerId="LiveId" clId="{97D938C7-5D03-44B5-AF06-85F2285E6FD2}" dt="2023-08-03T02:13:04.115" v="2531" actId="478"/>
          <ac:picMkLst>
            <pc:docMk/>
            <pc:sldMk cId="1197140086" sldId="753"/>
            <ac:picMk id="17" creationId="{A08E12C5-C0E6-293A-980F-4912843DCDAE}"/>
          </ac:picMkLst>
        </pc:picChg>
      </pc:sldChg>
      <pc:sldChg chg="modSp add mod">
        <pc:chgData name="Francisco Treviño" userId="abe7146e798f448e" providerId="LiveId" clId="{97D938C7-5D03-44B5-AF06-85F2285E6FD2}" dt="2023-08-03T02:16:52.364" v="3113" actId="20577"/>
        <pc:sldMkLst>
          <pc:docMk/>
          <pc:sldMk cId="2313447070" sldId="754"/>
        </pc:sldMkLst>
        <pc:spChg chg="mod">
          <ac:chgData name="Francisco Treviño" userId="abe7146e798f448e" providerId="LiveId" clId="{97D938C7-5D03-44B5-AF06-85F2285E6FD2}" dt="2023-08-03T02:15:00.713" v="2862" actId="14100"/>
          <ac:spMkLst>
            <pc:docMk/>
            <pc:sldMk cId="2313447070" sldId="754"/>
            <ac:spMk id="4" creationId="{0062FF9D-ABEA-7F67-9898-9929E730C9E7}"/>
          </ac:spMkLst>
        </pc:spChg>
        <pc:spChg chg="mod">
          <ac:chgData name="Francisco Treviño" userId="abe7146e798f448e" providerId="LiveId" clId="{97D938C7-5D03-44B5-AF06-85F2285E6FD2}" dt="2023-08-03T02:16:52.364" v="3113" actId="20577"/>
          <ac:spMkLst>
            <pc:docMk/>
            <pc:sldMk cId="2313447070" sldId="754"/>
            <ac:spMk id="13" creationId="{CED41CC1-80ED-C112-F7C8-D3094614299F}"/>
          </ac:spMkLst>
        </pc:spChg>
        <pc:picChg chg="mod">
          <ac:chgData name="Francisco Treviño" userId="abe7146e798f448e" providerId="LiveId" clId="{97D938C7-5D03-44B5-AF06-85F2285E6FD2}" dt="2023-08-03T02:14:49.552" v="2858" actId="1076"/>
          <ac:picMkLst>
            <pc:docMk/>
            <pc:sldMk cId="2313447070" sldId="754"/>
            <ac:picMk id="7" creationId="{4A158403-20EF-C8FF-E6EA-6AFC62DA49A2}"/>
          </ac:picMkLst>
        </pc:picChg>
      </pc:sldChg>
      <pc:sldChg chg="addSp delSp modSp add mod">
        <pc:chgData name="Francisco Treviño" userId="abe7146e798f448e" providerId="LiveId" clId="{97D938C7-5D03-44B5-AF06-85F2285E6FD2}" dt="2023-08-03T02:17:10.960" v="3124" actId="1076"/>
        <pc:sldMkLst>
          <pc:docMk/>
          <pc:sldMk cId="169489835" sldId="755"/>
        </pc:sldMkLst>
        <pc:spChg chg="mod ord">
          <ac:chgData name="Francisco Treviño" userId="abe7146e798f448e" providerId="LiveId" clId="{97D938C7-5D03-44B5-AF06-85F2285E6FD2}" dt="2023-08-03T02:15:38.799" v="2912"/>
          <ac:spMkLst>
            <pc:docMk/>
            <pc:sldMk cId="169489835" sldId="755"/>
            <ac:spMk id="2" creationId="{9A02571A-D1B6-8EB4-985A-7487325A2207}"/>
          </ac:spMkLst>
        </pc:spChg>
        <pc:spChg chg="mod ord">
          <ac:chgData name="Francisco Treviño" userId="abe7146e798f448e" providerId="LiveId" clId="{97D938C7-5D03-44B5-AF06-85F2285E6FD2}" dt="2023-08-03T02:15:43.022" v="2926" actId="1076"/>
          <ac:spMkLst>
            <pc:docMk/>
            <pc:sldMk cId="169489835" sldId="755"/>
            <ac:spMk id="4" creationId="{0062FF9D-ABEA-7F67-9898-9929E730C9E7}"/>
          </ac:spMkLst>
        </pc:spChg>
        <pc:spChg chg="mod ord">
          <ac:chgData name="Francisco Treviño" userId="abe7146e798f448e" providerId="LiveId" clId="{97D938C7-5D03-44B5-AF06-85F2285E6FD2}" dt="2023-08-03T02:15:38.800" v="2914"/>
          <ac:spMkLst>
            <pc:docMk/>
            <pc:sldMk cId="169489835" sldId="755"/>
            <ac:spMk id="5" creationId="{B3A1D89D-BDC4-9E00-401A-B3D38117685C}"/>
          </ac:spMkLst>
        </pc:spChg>
        <pc:spChg chg="add del mod modVis">
          <ac:chgData name="Francisco Treviño" userId="abe7146e798f448e" providerId="LiveId" clId="{97D938C7-5D03-44B5-AF06-85F2285E6FD2}" dt="2023-08-03T02:15:38.801" v="2922"/>
          <ac:spMkLst>
            <pc:docMk/>
            <pc:sldMk cId="169489835" sldId="755"/>
            <ac:spMk id="9" creationId="{D40A9774-A340-B0BD-1AB6-04CB89B56207}"/>
          </ac:spMkLst>
        </pc:spChg>
        <pc:spChg chg="add mod">
          <ac:chgData name="Francisco Treviño" userId="abe7146e798f448e" providerId="LiveId" clId="{97D938C7-5D03-44B5-AF06-85F2285E6FD2}" dt="2023-08-03T02:17:05.281" v="3122" actId="20577"/>
          <ac:spMkLst>
            <pc:docMk/>
            <pc:sldMk cId="169489835" sldId="755"/>
            <ac:spMk id="10" creationId="{8EFFE085-E2C9-8272-BF86-4B5FBEA35846}"/>
          </ac:spMkLst>
        </pc:spChg>
        <pc:spChg chg="add mod">
          <ac:chgData name="Francisco Treviño" userId="abe7146e798f448e" providerId="LiveId" clId="{97D938C7-5D03-44B5-AF06-85F2285E6FD2}" dt="2023-08-03T02:17:10.960" v="3124" actId="1076"/>
          <ac:spMkLst>
            <pc:docMk/>
            <pc:sldMk cId="169489835" sldId="755"/>
            <ac:spMk id="11" creationId="{253F5CF1-BC2B-9660-A013-3C4B4C9F4915}"/>
          </ac:spMkLst>
        </pc:spChg>
        <pc:spChg chg="mod ord">
          <ac:chgData name="Francisco Treviño" userId="abe7146e798f448e" providerId="LiveId" clId="{97D938C7-5D03-44B5-AF06-85F2285E6FD2}" dt="2023-08-03T02:16:21.785" v="3027" actId="20577"/>
          <ac:spMkLst>
            <pc:docMk/>
            <pc:sldMk cId="169489835" sldId="755"/>
            <ac:spMk id="13" creationId="{CED41CC1-80ED-C112-F7C8-D3094614299F}"/>
          </ac:spMkLst>
        </pc:spChg>
        <pc:graphicFrameChg chg="mod">
          <ac:chgData name="Francisco Treviño" userId="abe7146e798f448e" providerId="LiveId" clId="{97D938C7-5D03-44B5-AF06-85F2285E6FD2}" dt="2023-08-03T02:15:38.802" v="2924"/>
          <ac:graphicFrameMkLst>
            <pc:docMk/>
            <pc:sldMk cId="169489835" sldId="755"/>
            <ac:graphicFrameMk id="6" creationId="{6340F78E-8A1D-407C-D535-79FCE988D987}"/>
          </ac:graphicFrameMkLst>
        </pc:graphicFrameChg>
        <pc:picChg chg="del">
          <ac:chgData name="Francisco Treviño" userId="abe7146e798f448e" providerId="LiveId" clId="{97D938C7-5D03-44B5-AF06-85F2285E6FD2}" dt="2023-08-03T02:15:29.420" v="2865" actId="478"/>
          <ac:picMkLst>
            <pc:docMk/>
            <pc:sldMk cId="169489835" sldId="755"/>
            <ac:picMk id="7" creationId="{4A158403-20EF-C8FF-E6EA-6AFC62DA49A2}"/>
          </ac:picMkLst>
        </pc:picChg>
        <pc:picChg chg="add mod ord">
          <ac:chgData name="Francisco Treviño" userId="abe7146e798f448e" providerId="LiveId" clId="{97D938C7-5D03-44B5-AF06-85F2285E6FD2}" dt="2023-08-03T02:15:39.914" v="2925" actId="1076"/>
          <ac:picMkLst>
            <pc:docMk/>
            <pc:sldMk cId="169489835" sldId="755"/>
            <ac:picMk id="8" creationId="{F3AF0D96-C025-0EAD-0973-2D3F815E8C35}"/>
          </ac:picMkLst>
        </pc:picChg>
      </pc:sldChg>
      <pc:sldChg chg="del">
        <pc:chgData name="Francisco Treviño" userId="abe7146e798f448e" providerId="LiveId" clId="{97D938C7-5D03-44B5-AF06-85F2285E6FD2}" dt="2023-08-03T00:40:39.361" v="837" actId="47"/>
        <pc:sldMkLst>
          <pc:docMk/>
          <pc:sldMk cId="2029719864" sldId="755"/>
        </pc:sldMkLst>
      </pc:sldChg>
      <pc:sldChg chg="addSp delSp modSp add mod">
        <pc:chgData name="Francisco Treviño" userId="abe7146e798f448e" providerId="LiveId" clId="{97D938C7-5D03-44B5-AF06-85F2285E6FD2}" dt="2023-08-03T02:18:07.868" v="3227" actId="478"/>
        <pc:sldMkLst>
          <pc:docMk/>
          <pc:sldMk cId="2171924535" sldId="756"/>
        </pc:sldMkLst>
        <pc:spChg chg="mod ord">
          <ac:chgData name="Francisco Treviño" userId="abe7146e798f448e" providerId="LiveId" clId="{97D938C7-5D03-44B5-AF06-85F2285E6FD2}" dt="2023-08-03T02:17:48.868" v="3175"/>
          <ac:spMkLst>
            <pc:docMk/>
            <pc:sldMk cId="2171924535" sldId="756"/>
            <ac:spMk id="2" creationId="{9A02571A-D1B6-8EB4-985A-7487325A2207}"/>
          </ac:spMkLst>
        </pc:spChg>
        <pc:spChg chg="mod ord">
          <ac:chgData name="Francisco Treviño" userId="abe7146e798f448e" providerId="LiveId" clId="{97D938C7-5D03-44B5-AF06-85F2285E6FD2}" dt="2023-08-03T02:17:57.855" v="3195" actId="14100"/>
          <ac:spMkLst>
            <pc:docMk/>
            <pc:sldMk cId="2171924535" sldId="756"/>
            <ac:spMk id="4" creationId="{0062FF9D-ABEA-7F67-9898-9929E730C9E7}"/>
          </ac:spMkLst>
        </pc:spChg>
        <pc:spChg chg="mod ord">
          <ac:chgData name="Francisco Treviño" userId="abe7146e798f448e" providerId="LiveId" clId="{97D938C7-5D03-44B5-AF06-85F2285E6FD2}" dt="2023-08-03T02:17:48.868" v="3177"/>
          <ac:spMkLst>
            <pc:docMk/>
            <pc:sldMk cId="2171924535" sldId="756"/>
            <ac:spMk id="5" creationId="{B3A1D89D-BDC4-9E00-401A-B3D38117685C}"/>
          </ac:spMkLst>
        </pc:spChg>
        <pc:spChg chg="add del mod modVis">
          <ac:chgData name="Francisco Treviño" userId="abe7146e798f448e" providerId="LiveId" clId="{97D938C7-5D03-44B5-AF06-85F2285E6FD2}" dt="2023-08-03T02:17:48.871" v="3189"/>
          <ac:spMkLst>
            <pc:docMk/>
            <pc:sldMk cId="2171924535" sldId="756"/>
            <ac:spMk id="9" creationId="{AF9C67C0-BD53-8AC2-1EFA-D18FD436CF1E}"/>
          </ac:spMkLst>
        </pc:spChg>
        <pc:spChg chg="mod ord">
          <ac:chgData name="Francisco Treviño" userId="abe7146e798f448e" providerId="LiveId" clId="{97D938C7-5D03-44B5-AF06-85F2285E6FD2}" dt="2023-08-03T02:18:06.520" v="3226" actId="1076"/>
          <ac:spMkLst>
            <pc:docMk/>
            <pc:sldMk cId="2171924535" sldId="756"/>
            <ac:spMk id="10" creationId="{8EFFE085-E2C9-8272-BF86-4B5FBEA35846}"/>
          </ac:spMkLst>
        </pc:spChg>
        <pc:spChg chg="del mod ord">
          <ac:chgData name="Francisco Treviño" userId="abe7146e798f448e" providerId="LiveId" clId="{97D938C7-5D03-44B5-AF06-85F2285E6FD2}" dt="2023-08-03T02:17:52.927" v="3193" actId="478"/>
          <ac:spMkLst>
            <pc:docMk/>
            <pc:sldMk cId="2171924535" sldId="756"/>
            <ac:spMk id="11" creationId="{253F5CF1-BC2B-9660-A013-3C4B4C9F4915}"/>
          </ac:spMkLst>
        </pc:spChg>
        <pc:spChg chg="del mod ord">
          <ac:chgData name="Francisco Treviño" userId="abe7146e798f448e" providerId="LiveId" clId="{97D938C7-5D03-44B5-AF06-85F2285E6FD2}" dt="2023-08-03T02:18:07.868" v="3227" actId="478"/>
          <ac:spMkLst>
            <pc:docMk/>
            <pc:sldMk cId="2171924535" sldId="756"/>
            <ac:spMk id="13" creationId="{CED41CC1-80ED-C112-F7C8-D3094614299F}"/>
          </ac:spMkLst>
        </pc:spChg>
        <pc:graphicFrameChg chg="mod">
          <ac:chgData name="Francisco Treviño" userId="abe7146e798f448e" providerId="LiveId" clId="{97D938C7-5D03-44B5-AF06-85F2285E6FD2}" dt="2023-08-03T02:17:48.873" v="3191"/>
          <ac:graphicFrameMkLst>
            <pc:docMk/>
            <pc:sldMk cId="2171924535" sldId="756"/>
            <ac:graphicFrameMk id="6" creationId="{6340F78E-8A1D-407C-D535-79FCE988D987}"/>
          </ac:graphicFrameMkLst>
        </pc:graphicFrameChg>
        <pc:picChg chg="add mod ord">
          <ac:chgData name="Francisco Treviño" userId="abe7146e798f448e" providerId="LiveId" clId="{97D938C7-5D03-44B5-AF06-85F2285E6FD2}" dt="2023-08-03T02:17:48.868" v="3171"/>
          <ac:picMkLst>
            <pc:docMk/>
            <pc:sldMk cId="2171924535" sldId="756"/>
            <ac:picMk id="7" creationId="{B8E4AFED-2CF4-83B7-3422-33AB232301F9}"/>
          </ac:picMkLst>
        </pc:picChg>
        <pc:picChg chg="del mod ord">
          <ac:chgData name="Francisco Treviño" userId="abe7146e798f448e" providerId="LiveId" clId="{97D938C7-5D03-44B5-AF06-85F2285E6FD2}" dt="2023-08-03T02:17:49.910" v="3192" actId="478"/>
          <ac:picMkLst>
            <pc:docMk/>
            <pc:sldMk cId="2171924535" sldId="756"/>
            <ac:picMk id="8" creationId="{F3AF0D96-C025-0EAD-0973-2D3F815E8C35}"/>
          </ac:picMkLst>
        </pc:picChg>
      </pc:sldChg>
      <pc:sldChg chg="del">
        <pc:chgData name="Francisco Treviño" userId="abe7146e798f448e" providerId="LiveId" clId="{97D938C7-5D03-44B5-AF06-85F2285E6FD2}" dt="2023-08-03T00:40:36.989" v="829" actId="47"/>
        <pc:sldMkLst>
          <pc:docMk/>
          <pc:sldMk cId="3998343956" sldId="756"/>
        </pc:sldMkLst>
      </pc:sldChg>
      <pc:sldChg chg="del">
        <pc:chgData name="Francisco Treviño" userId="abe7146e798f448e" providerId="LiveId" clId="{97D938C7-5D03-44B5-AF06-85F2285E6FD2}" dt="2023-08-03T00:40:37.911" v="833" actId="47"/>
        <pc:sldMkLst>
          <pc:docMk/>
          <pc:sldMk cId="2531649553" sldId="757"/>
        </pc:sldMkLst>
      </pc:sldChg>
      <pc:sldChg chg="addSp delSp modSp add mod">
        <pc:chgData name="Francisco Treviño" userId="abe7146e798f448e" providerId="LiveId" clId="{97D938C7-5D03-44B5-AF06-85F2285E6FD2}" dt="2023-08-03T02:19:01.637" v="3329" actId="20577"/>
        <pc:sldMkLst>
          <pc:docMk/>
          <pc:sldMk cId="2911659822" sldId="757"/>
        </pc:sldMkLst>
        <pc:spChg chg="mod ord">
          <ac:chgData name="Francisco Treviño" userId="abe7146e798f448e" providerId="LiveId" clId="{97D938C7-5D03-44B5-AF06-85F2285E6FD2}" dt="2023-08-03T02:18:42.058" v="3275"/>
          <ac:spMkLst>
            <pc:docMk/>
            <pc:sldMk cId="2911659822" sldId="757"/>
            <ac:spMk id="2" creationId="{9A02571A-D1B6-8EB4-985A-7487325A2207}"/>
          </ac:spMkLst>
        </pc:spChg>
        <pc:spChg chg="mod ord">
          <ac:chgData name="Francisco Treviño" userId="abe7146e798f448e" providerId="LiveId" clId="{97D938C7-5D03-44B5-AF06-85F2285E6FD2}" dt="2023-08-03T02:18:52.380" v="3290" actId="14100"/>
          <ac:spMkLst>
            <pc:docMk/>
            <pc:sldMk cId="2911659822" sldId="757"/>
            <ac:spMk id="4" creationId="{0062FF9D-ABEA-7F67-9898-9929E730C9E7}"/>
          </ac:spMkLst>
        </pc:spChg>
        <pc:spChg chg="mod ord">
          <ac:chgData name="Francisco Treviño" userId="abe7146e798f448e" providerId="LiveId" clId="{97D938C7-5D03-44B5-AF06-85F2285E6FD2}" dt="2023-08-03T02:18:42.058" v="3277"/>
          <ac:spMkLst>
            <pc:docMk/>
            <pc:sldMk cId="2911659822" sldId="757"/>
            <ac:spMk id="5" creationId="{B3A1D89D-BDC4-9E00-401A-B3D38117685C}"/>
          </ac:spMkLst>
        </pc:spChg>
        <pc:spChg chg="add del mod modVis">
          <ac:chgData name="Francisco Treviño" userId="abe7146e798f448e" providerId="LiveId" clId="{97D938C7-5D03-44B5-AF06-85F2285E6FD2}" dt="2023-08-03T02:18:42.060" v="3285"/>
          <ac:spMkLst>
            <pc:docMk/>
            <pc:sldMk cId="2911659822" sldId="757"/>
            <ac:spMk id="9" creationId="{AB7FEBEA-883F-D2FB-8F62-91CC394A5FDC}"/>
          </ac:spMkLst>
        </pc:spChg>
        <pc:spChg chg="mod ord">
          <ac:chgData name="Francisco Treviño" userId="abe7146e798f448e" providerId="LiveId" clId="{97D938C7-5D03-44B5-AF06-85F2285E6FD2}" dt="2023-08-03T02:19:01.637" v="3329" actId="20577"/>
          <ac:spMkLst>
            <pc:docMk/>
            <pc:sldMk cId="2911659822" sldId="757"/>
            <ac:spMk id="10" creationId="{8EFFE085-E2C9-8272-BF86-4B5FBEA35846}"/>
          </ac:spMkLst>
        </pc:spChg>
        <pc:graphicFrameChg chg="mod">
          <ac:chgData name="Francisco Treviño" userId="abe7146e798f448e" providerId="LiveId" clId="{97D938C7-5D03-44B5-AF06-85F2285E6FD2}" dt="2023-08-03T02:18:42.061" v="3287"/>
          <ac:graphicFrameMkLst>
            <pc:docMk/>
            <pc:sldMk cId="2911659822" sldId="757"/>
            <ac:graphicFrameMk id="6" creationId="{6340F78E-8A1D-407C-D535-79FCE988D987}"/>
          </ac:graphicFrameMkLst>
        </pc:graphicFrameChg>
        <pc:picChg chg="del">
          <ac:chgData name="Francisco Treviño" userId="abe7146e798f448e" providerId="LiveId" clId="{97D938C7-5D03-44B5-AF06-85F2285E6FD2}" dt="2023-08-03T02:18:38.840" v="3233" actId="478"/>
          <ac:picMkLst>
            <pc:docMk/>
            <pc:sldMk cId="2911659822" sldId="757"/>
            <ac:picMk id="7" creationId="{B8E4AFED-2CF4-83B7-3422-33AB232301F9}"/>
          </ac:picMkLst>
        </pc:picChg>
        <pc:picChg chg="add mod ord">
          <ac:chgData name="Francisco Treviño" userId="abe7146e798f448e" providerId="LiveId" clId="{97D938C7-5D03-44B5-AF06-85F2285E6FD2}" dt="2023-08-03T02:18:42.057" v="3273"/>
          <ac:picMkLst>
            <pc:docMk/>
            <pc:sldMk cId="2911659822" sldId="757"/>
            <ac:picMk id="8" creationId="{8BEE0B19-2C7F-7433-4DC2-47B18833D349}"/>
          </ac:picMkLst>
        </pc:picChg>
      </pc:sldChg>
      <pc:sldChg chg="addSp delSp modSp add mod">
        <pc:chgData name="Francisco Treviño" userId="abe7146e798f448e" providerId="LiveId" clId="{97D938C7-5D03-44B5-AF06-85F2285E6FD2}" dt="2023-08-03T02:19:55.823" v="3418" actId="14100"/>
        <pc:sldMkLst>
          <pc:docMk/>
          <pc:sldMk cId="1307379917" sldId="758"/>
        </pc:sldMkLst>
        <pc:spChg chg="mod ord">
          <ac:chgData name="Francisco Treviño" userId="abe7146e798f448e" providerId="LiveId" clId="{97D938C7-5D03-44B5-AF06-85F2285E6FD2}" dt="2023-08-03T02:19:37.627" v="3402"/>
          <ac:spMkLst>
            <pc:docMk/>
            <pc:sldMk cId="1307379917" sldId="758"/>
            <ac:spMk id="2" creationId="{9A02571A-D1B6-8EB4-985A-7487325A2207}"/>
          </ac:spMkLst>
        </pc:spChg>
        <pc:spChg chg="mod ord">
          <ac:chgData name="Francisco Treviño" userId="abe7146e798f448e" providerId="LiveId" clId="{97D938C7-5D03-44B5-AF06-85F2285E6FD2}" dt="2023-08-03T02:19:55.823" v="3418" actId="14100"/>
          <ac:spMkLst>
            <pc:docMk/>
            <pc:sldMk cId="1307379917" sldId="758"/>
            <ac:spMk id="4" creationId="{0062FF9D-ABEA-7F67-9898-9929E730C9E7}"/>
          </ac:spMkLst>
        </pc:spChg>
        <pc:spChg chg="mod ord">
          <ac:chgData name="Francisco Treviño" userId="abe7146e798f448e" providerId="LiveId" clId="{97D938C7-5D03-44B5-AF06-85F2285E6FD2}" dt="2023-08-03T02:19:37.627" v="3404"/>
          <ac:spMkLst>
            <pc:docMk/>
            <pc:sldMk cId="1307379917" sldId="758"/>
            <ac:spMk id="5" creationId="{B3A1D89D-BDC4-9E00-401A-B3D38117685C}"/>
          </ac:spMkLst>
        </pc:spChg>
        <pc:spChg chg="add del mod modVis">
          <ac:chgData name="Francisco Treviño" userId="abe7146e798f448e" providerId="LiveId" clId="{97D938C7-5D03-44B5-AF06-85F2285E6FD2}" dt="2023-08-03T02:19:37.629" v="3412"/>
          <ac:spMkLst>
            <pc:docMk/>
            <pc:sldMk cId="1307379917" sldId="758"/>
            <ac:spMk id="9" creationId="{6DF482ED-868F-655F-0951-EE948727A9B8}"/>
          </ac:spMkLst>
        </pc:spChg>
        <pc:spChg chg="mod ord">
          <ac:chgData name="Francisco Treviño" userId="abe7146e798f448e" providerId="LiveId" clId="{97D938C7-5D03-44B5-AF06-85F2285E6FD2}" dt="2023-08-03T02:19:37.628" v="3408"/>
          <ac:spMkLst>
            <pc:docMk/>
            <pc:sldMk cId="1307379917" sldId="758"/>
            <ac:spMk id="10" creationId="{8EFFE085-E2C9-8272-BF86-4B5FBEA35846}"/>
          </ac:spMkLst>
        </pc:spChg>
        <pc:graphicFrameChg chg="mod">
          <ac:chgData name="Francisco Treviño" userId="abe7146e798f448e" providerId="LiveId" clId="{97D938C7-5D03-44B5-AF06-85F2285E6FD2}" dt="2023-08-03T02:19:37.630" v="3414"/>
          <ac:graphicFrameMkLst>
            <pc:docMk/>
            <pc:sldMk cId="1307379917" sldId="758"/>
            <ac:graphicFrameMk id="6" creationId="{6340F78E-8A1D-407C-D535-79FCE988D987}"/>
          </ac:graphicFrameMkLst>
        </pc:graphicFrameChg>
        <pc:picChg chg="add mod ord">
          <ac:chgData name="Francisco Treviño" userId="abe7146e798f448e" providerId="LiveId" clId="{97D938C7-5D03-44B5-AF06-85F2285E6FD2}" dt="2023-08-03T02:19:51.026" v="3417" actId="14100"/>
          <ac:picMkLst>
            <pc:docMk/>
            <pc:sldMk cId="1307379917" sldId="758"/>
            <ac:picMk id="7" creationId="{6F5C3B26-2E71-0052-BD1A-C386C6212776}"/>
          </ac:picMkLst>
        </pc:picChg>
        <pc:picChg chg="del">
          <ac:chgData name="Francisco Treviño" userId="abe7146e798f448e" providerId="LiveId" clId="{97D938C7-5D03-44B5-AF06-85F2285E6FD2}" dt="2023-08-03T02:19:21.936" v="3358" actId="478"/>
          <ac:picMkLst>
            <pc:docMk/>
            <pc:sldMk cId="1307379917" sldId="758"/>
            <ac:picMk id="8" creationId="{8BEE0B19-2C7F-7433-4DC2-47B18833D349}"/>
          </ac:picMkLst>
        </pc:picChg>
      </pc:sldChg>
      <pc:sldChg chg="del">
        <pc:chgData name="Francisco Treviño" userId="abe7146e798f448e" providerId="LiveId" clId="{97D938C7-5D03-44B5-AF06-85F2285E6FD2}" dt="2023-08-03T00:40:42.570" v="844" actId="47"/>
        <pc:sldMkLst>
          <pc:docMk/>
          <pc:sldMk cId="3886762098" sldId="758"/>
        </pc:sldMkLst>
      </pc:sldChg>
      <pc:sldChg chg="addSp delSp modSp add mod">
        <pc:chgData name="Francisco Treviño" userId="abe7146e798f448e" providerId="LiveId" clId="{97D938C7-5D03-44B5-AF06-85F2285E6FD2}" dt="2023-08-03T02:20:56.750" v="3556" actId="20577"/>
        <pc:sldMkLst>
          <pc:docMk/>
          <pc:sldMk cId="2701421450" sldId="759"/>
        </pc:sldMkLst>
        <pc:spChg chg="mod ord">
          <ac:chgData name="Francisco Treviño" userId="abe7146e798f448e" providerId="LiveId" clId="{97D938C7-5D03-44B5-AF06-85F2285E6FD2}" dt="2023-08-03T02:20:48.022" v="3510"/>
          <ac:spMkLst>
            <pc:docMk/>
            <pc:sldMk cId="2701421450" sldId="759"/>
            <ac:spMk id="2" creationId="{9A02571A-D1B6-8EB4-985A-7487325A2207}"/>
          </ac:spMkLst>
        </pc:spChg>
        <pc:spChg chg="mod ord">
          <ac:chgData name="Francisco Treviño" userId="abe7146e798f448e" providerId="LiveId" clId="{97D938C7-5D03-44B5-AF06-85F2285E6FD2}" dt="2023-08-03T02:20:48.022" v="3514"/>
          <ac:spMkLst>
            <pc:docMk/>
            <pc:sldMk cId="2701421450" sldId="759"/>
            <ac:spMk id="4" creationId="{0062FF9D-ABEA-7F67-9898-9929E730C9E7}"/>
          </ac:spMkLst>
        </pc:spChg>
        <pc:spChg chg="mod ord">
          <ac:chgData name="Francisco Treviño" userId="abe7146e798f448e" providerId="LiveId" clId="{97D938C7-5D03-44B5-AF06-85F2285E6FD2}" dt="2023-08-03T02:20:48.022" v="3512"/>
          <ac:spMkLst>
            <pc:docMk/>
            <pc:sldMk cId="2701421450" sldId="759"/>
            <ac:spMk id="5" creationId="{B3A1D89D-BDC4-9E00-401A-B3D38117685C}"/>
          </ac:spMkLst>
        </pc:spChg>
        <pc:spChg chg="add del mod modVis">
          <ac:chgData name="Francisco Treviño" userId="abe7146e798f448e" providerId="LiveId" clId="{97D938C7-5D03-44B5-AF06-85F2285E6FD2}" dt="2023-08-03T02:20:48.024" v="3520"/>
          <ac:spMkLst>
            <pc:docMk/>
            <pc:sldMk cId="2701421450" sldId="759"/>
            <ac:spMk id="9" creationId="{813C8E13-3454-DF01-41DB-6FF65B908296}"/>
          </ac:spMkLst>
        </pc:spChg>
        <pc:spChg chg="mod ord">
          <ac:chgData name="Francisco Treviño" userId="abe7146e798f448e" providerId="LiveId" clId="{97D938C7-5D03-44B5-AF06-85F2285E6FD2}" dt="2023-08-03T02:20:56.750" v="3556" actId="20577"/>
          <ac:spMkLst>
            <pc:docMk/>
            <pc:sldMk cId="2701421450" sldId="759"/>
            <ac:spMk id="10" creationId="{8EFFE085-E2C9-8272-BF86-4B5FBEA35846}"/>
          </ac:spMkLst>
        </pc:spChg>
        <pc:graphicFrameChg chg="mod">
          <ac:chgData name="Francisco Treviño" userId="abe7146e798f448e" providerId="LiveId" clId="{97D938C7-5D03-44B5-AF06-85F2285E6FD2}" dt="2023-08-03T02:20:48.026" v="3522"/>
          <ac:graphicFrameMkLst>
            <pc:docMk/>
            <pc:sldMk cId="2701421450" sldId="759"/>
            <ac:graphicFrameMk id="6" creationId="{6340F78E-8A1D-407C-D535-79FCE988D987}"/>
          </ac:graphicFrameMkLst>
        </pc:graphicFrameChg>
        <pc:picChg chg="del mod ord">
          <ac:chgData name="Francisco Treviño" userId="abe7146e798f448e" providerId="LiveId" clId="{97D938C7-5D03-44B5-AF06-85F2285E6FD2}" dt="2023-08-03T02:20:49.966" v="3523" actId="478"/>
          <ac:picMkLst>
            <pc:docMk/>
            <pc:sldMk cId="2701421450" sldId="759"/>
            <ac:picMk id="7" creationId="{6F5C3B26-2E71-0052-BD1A-C386C6212776}"/>
          </ac:picMkLst>
        </pc:picChg>
        <pc:picChg chg="add mod ord">
          <ac:chgData name="Francisco Treviño" userId="abe7146e798f448e" providerId="LiveId" clId="{97D938C7-5D03-44B5-AF06-85F2285E6FD2}" dt="2023-08-03T02:20:48.021" v="3506"/>
          <ac:picMkLst>
            <pc:docMk/>
            <pc:sldMk cId="2701421450" sldId="759"/>
            <ac:picMk id="8" creationId="{DB7227F1-02F7-E762-2638-D2B89A628D7C}"/>
          </ac:picMkLst>
        </pc:picChg>
      </pc:sldChg>
      <pc:sldChg chg="addSp delSp modSp add mod">
        <pc:chgData name="Francisco Treviño" userId="abe7146e798f448e" providerId="LiveId" clId="{97D938C7-5D03-44B5-AF06-85F2285E6FD2}" dt="2023-08-03T02:21:40.098" v="3630" actId="1076"/>
        <pc:sldMkLst>
          <pc:docMk/>
          <pc:sldMk cId="3079089124" sldId="760"/>
        </pc:sldMkLst>
        <pc:spChg chg="mod ord">
          <ac:chgData name="Francisco Treviño" userId="abe7146e798f448e" providerId="LiveId" clId="{97D938C7-5D03-44B5-AF06-85F2285E6FD2}" dt="2023-08-03T02:21:32.532" v="3615"/>
          <ac:spMkLst>
            <pc:docMk/>
            <pc:sldMk cId="3079089124" sldId="760"/>
            <ac:spMk id="2" creationId="{9A02571A-D1B6-8EB4-985A-7487325A2207}"/>
          </ac:spMkLst>
        </pc:spChg>
        <pc:spChg chg="mod ord">
          <ac:chgData name="Francisco Treviño" userId="abe7146e798f448e" providerId="LiveId" clId="{97D938C7-5D03-44B5-AF06-85F2285E6FD2}" dt="2023-08-03T02:21:37.417" v="3629" actId="14100"/>
          <ac:spMkLst>
            <pc:docMk/>
            <pc:sldMk cId="3079089124" sldId="760"/>
            <ac:spMk id="4" creationId="{0062FF9D-ABEA-7F67-9898-9929E730C9E7}"/>
          </ac:spMkLst>
        </pc:spChg>
        <pc:spChg chg="mod ord">
          <ac:chgData name="Francisco Treviño" userId="abe7146e798f448e" providerId="LiveId" clId="{97D938C7-5D03-44B5-AF06-85F2285E6FD2}" dt="2023-08-03T02:21:32.532" v="3617"/>
          <ac:spMkLst>
            <pc:docMk/>
            <pc:sldMk cId="3079089124" sldId="760"/>
            <ac:spMk id="5" creationId="{B3A1D89D-BDC4-9E00-401A-B3D38117685C}"/>
          </ac:spMkLst>
        </pc:spChg>
        <pc:spChg chg="add del mod modVis">
          <ac:chgData name="Francisco Treviño" userId="abe7146e798f448e" providerId="LiveId" clId="{97D938C7-5D03-44B5-AF06-85F2285E6FD2}" dt="2023-08-03T02:21:32.534" v="3625"/>
          <ac:spMkLst>
            <pc:docMk/>
            <pc:sldMk cId="3079089124" sldId="760"/>
            <ac:spMk id="9" creationId="{5097D6DE-6FCE-207F-8F55-2E246B1C102B}"/>
          </ac:spMkLst>
        </pc:spChg>
        <pc:spChg chg="mod ord">
          <ac:chgData name="Francisco Treviño" userId="abe7146e798f448e" providerId="LiveId" clId="{97D938C7-5D03-44B5-AF06-85F2285E6FD2}" dt="2023-08-03T02:21:40.098" v="3630" actId="1076"/>
          <ac:spMkLst>
            <pc:docMk/>
            <pc:sldMk cId="3079089124" sldId="760"/>
            <ac:spMk id="10" creationId="{8EFFE085-E2C9-8272-BF86-4B5FBEA35846}"/>
          </ac:spMkLst>
        </pc:spChg>
        <pc:graphicFrameChg chg="mod">
          <ac:chgData name="Francisco Treviño" userId="abe7146e798f448e" providerId="LiveId" clId="{97D938C7-5D03-44B5-AF06-85F2285E6FD2}" dt="2023-08-03T02:21:32.536" v="3627"/>
          <ac:graphicFrameMkLst>
            <pc:docMk/>
            <pc:sldMk cId="3079089124" sldId="760"/>
            <ac:graphicFrameMk id="6" creationId="{6340F78E-8A1D-407C-D535-79FCE988D987}"/>
          </ac:graphicFrameMkLst>
        </pc:graphicFrameChg>
        <pc:picChg chg="add mod ord">
          <ac:chgData name="Francisco Treviño" userId="abe7146e798f448e" providerId="LiveId" clId="{97D938C7-5D03-44B5-AF06-85F2285E6FD2}" dt="2023-08-03T02:21:32.531" v="3611"/>
          <ac:picMkLst>
            <pc:docMk/>
            <pc:sldMk cId="3079089124" sldId="760"/>
            <ac:picMk id="7" creationId="{E1B39756-DA18-9BEC-8B19-BBC0FD49908C}"/>
          </ac:picMkLst>
        </pc:picChg>
        <pc:picChg chg="del mod ord">
          <ac:chgData name="Francisco Treviño" userId="abe7146e798f448e" providerId="LiveId" clId="{97D938C7-5D03-44B5-AF06-85F2285E6FD2}" dt="2023-08-03T02:21:34.235" v="3628" actId="478"/>
          <ac:picMkLst>
            <pc:docMk/>
            <pc:sldMk cId="3079089124" sldId="760"/>
            <ac:picMk id="8" creationId="{DB7227F1-02F7-E762-2638-D2B89A628D7C}"/>
          </ac:picMkLst>
        </pc:picChg>
      </pc:sldChg>
      <pc:sldChg chg="del">
        <pc:chgData name="Francisco Treviño" userId="abe7146e798f448e" providerId="LiveId" clId="{97D938C7-5D03-44B5-AF06-85F2285E6FD2}" dt="2023-08-03T00:40:02.435" v="814" actId="47"/>
        <pc:sldMkLst>
          <pc:docMk/>
          <pc:sldMk cId="3155337120" sldId="760"/>
        </pc:sldMkLst>
      </pc:sldChg>
      <pc:sldChg chg="del">
        <pc:chgData name="Francisco Treviño" userId="abe7146e798f448e" providerId="LiveId" clId="{97D938C7-5D03-44B5-AF06-85F2285E6FD2}" dt="2023-08-03T00:40:37.725" v="832" actId="47"/>
        <pc:sldMkLst>
          <pc:docMk/>
          <pc:sldMk cId="1610313774" sldId="761"/>
        </pc:sldMkLst>
      </pc:sldChg>
      <pc:sldChg chg="addSp delSp modSp add mod">
        <pc:chgData name="Francisco Treviño" userId="abe7146e798f448e" providerId="LiveId" clId="{97D938C7-5D03-44B5-AF06-85F2285E6FD2}" dt="2023-08-03T02:22:24.453" v="3732" actId="14100"/>
        <pc:sldMkLst>
          <pc:docMk/>
          <pc:sldMk cId="3897915907" sldId="761"/>
        </pc:sldMkLst>
        <pc:spChg chg="mod ord">
          <ac:chgData name="Francisco Treviño" userId="abe7146e798f448e" providerId="LiveId" clId="{97D938C7-5D03-44B5-AF06-85F2285E6FD2}" dt="2023-08-03T02:22:17.502" v="3717"/>
          <ac:spMkLst>
            <pc:docMk/>
            <pc:sldMk cId="3897915907" sldId="761"/>
            <ac:spMk id="2" creationId="{9A02571A-D1B6-8EB4-985A-7487325A2207}"/>
          </ac:spMkLst>
        </pc:spChg>
        <pc:spChg chg="mod ord">
          <ac:chgData name="Francisco Treviño" userId="abe7146e798f448e" providerId="LiveId" clId="{97D938C7-5D03-44B5-AF06-85F2285E6FD2}" dt="2023-08-03T02:22:24.453" v="3732" actId="14100"/>
          <ac:spMkLst>
            <pc:docMk/>
            <pc:sldMk cId="3897915907" sldId="761"/>
            <ac:spMk id="4" creationId="{0062FF9D-ABEA-7F67-9898-9929E730C9E7}"/>
          </ac:spMkLst>
        </pc:spChg>
        <pc:spChg chg="mod ord">
          <ac:chgData name="Francisco Treviño" userId="abe7146e798f448e" providerId="LiveId" clId="{97D938C7-5D03-44B5-AF06-85F2285E6FD2}" dt="2023-08-03T02:22:17.502" v="3719"/>
          <ac:spMkLst>
            <pc:docMk/>
            <pc:sldMk cId="3897915907" sldId="761"/>
            <ac:spMk id="5" creationId="{B3A1D89D-BDC4-9E00-401A-B3D38117685C}"/>
          </ac:spMkLst>
        </pc:spChg>
        <pc:spChg chg="add del mod modVis">
          <ac:chgData name="Francisco Treviño" userId="abe7146e798f448e" providerId="LiveId" clId="{97D938C7-5D03-44B5-AF06-85F2285E6FD2}" dt="2023-08-03T02:22:17.504" v="3727"/>
          <ac:spMkLst>
            <pc:docMk/>
            <pc:sldMk cId="3897915907" sldId="761"/>
            <ac:spMk id="9" creationId="{036B2BFF-A770-F762-D9E0-23DB155D2036}"/>
          </ac:spMkLst>
        </pc:spChg>
        <pc:spChg chg="mod ord">
          <ac:chgData name="Francisco Treviño" userId="abe7146e798f448e" providerId="LiveId" clId="{97D938C7-5D03-44B5-AF06-85F2285E6FD2}" dt="2023-08-03T02:22:17.503" v="3723"/>
          <ac:spMkLst>
            <pc:docMk/>
            <pc:sldMk cId="3897915907" sldId="761"/>
            <ac:spMk id="10" creationId="{8EFFE085-E2C9-8272-BF86-4B5FBEA35846}"/>
          </ac:spMkLst>
        </pc:spChg>
        <pc:graphicFrameChg chg="mod">
          <ac:chgData name="Francisco Treviño" userId="abe7146e798f448e" providerId="LiveId" clId="{97D938C7-5D03-44B5-AF06-85F2285E6FD2}" dt="2023-08-03T02:22:17.506" v="3729"/>
          <ac:graphicFrameMkLst>
            <pc:docMk/>
            <pc:sldMk cId="3897915907" sldId="761"/>
            <ac:graphicFrameMk id="6" creationId="{6340F78E-8A1D-407C-D535-79FCE988D987}"/>
          </ac:graphicFrameMkLst>
        </pc:graphicFrameChg>
        <pc:picChg chg="del mod ord">
          <ac:chgData name="Francisco Treviño" userId="abe7146e798f448e" providerId="LiveId" clId="{97D938C7-5D03-44B5-AF06-85F2285E6FD2}" dt="2023-08-03T02:22:19.381" v="3730" actId="478"/>
          <ac:picMkLst>
            <pc:docMk/>
            <pc:sldMk cId="3897915907" sldId="761"/>
            <ac:picMk id="7" creationId="{E1B39756-DA18-9BEC-8B19-BBC0FD49908C}"/>
          </ac:picMkLst>
        </pc:picChg>
        <pc:picChg chg="add mod ord">
          <ac:chgData name="Francisco Treviño" userId="abe7146e798f448e" providerId="LiveId" clId="{97D938C7-5D03-44B5-AF06-85F2285E6FD2}" dt="2023-08-03T02:22:21.866" v="3731" actId="1076"/>
          <ac:picMkLst>
            <pc:docMk/>
            <pc:sldMk cId="3897915907" sldId="761"/>
            <ac:picMk id="8" creationId="{4BBEAF51-0D14-ECFA-C16B-CB831AA0DDA5}"/>
          </ac:picMkLst>
        </pc:picChg>
      </pc:sldChg>
      <pc:sldChg chg="del">
        <pc:chgData name="Francisco Treviño" userId="abe7146e798f448e" providerId="LiveId" clId="{97D938C7-5D03-44B5-AF06-85F2285E6FD2}" dt="2023-08-03T00:39:58.207" v="804" actId="47"/>
        <pc:sldMkLst>
          <pc:docMk/>
          <pc:sldMk cId="1041924087" sldId="762"/>
        </pc:sldMkLst>
      </pc:sldChg>
      <pc:sldChg chg="addSp delSp modSp add mod">
        <pc:chgData name="Francisco Treviño" userId="abe7146e798f448e" providerId="LiveId" clId="{97D938C7-5D03-44B5-AF06-85F2285E6FD2}" dt="2023-08-03T02:23:06.084" v="3833" actId="20577"/>
        <pc:sldMkLst>
          <pc:docMk/>
          <pc:sldMk cId="2449354337" sldId="762"/>
        </pc:sldMkLst>
        <pc:spChg chg="mod ord">
          <ac:chgData name="Francisco Treviño" userId="abe7146e798f448e" providerId="LiveId" clId="{97D938C7-5D03-44B5-AF06-85F2285E6FD2}" dt="2023-08-03T02:22:57.240" v="3799"/>
          <ac:spMkLst>
            <pc:docMk/>
            <pc:sldMk cId="2449354337" sldId="762"/>
            <ac:spMk id="2" creationId="{9A02571A-D1B6-8EB4-985A-7487325A2207}"/>
          </ac:spMkLst>
        </pc:spChg>
        <pc:spChg chg="mod ord">
          <ac:chgData name="Francisco Treviño" userId="abe7146e798f448e" providerId="LiveId" clId="{97D938C7-5D03-44B5-AF06-85F2285E6FD2}" dt="2023-08-03T02:22:57.240" v="3803"/>
          <ac:spMkLst>
            <pc:docMk/>
            <pc:sldMk cId="2449354337" sldId="762"/>
            <ac:spMk id="4" creationId="{0062FF9D-ABEA-7F67-9898-9929E730C9E7}"/>
          </ac:spMkLst>
        </pc:spChg>
        <pc:spChg chg="mod ord">
          <ac:chgData name="Francisco Treviño" userId="abe7146e798f448e" providerId="LiveId" clId="{97D938C7-5D03-44B5-AF06-85F2285E6FD2}" dt="2023-08-03T02:22:57.240" v="3801"/>
          <ac:spMkLst>
            <pc:docMk/>
            <pc:sldMk cId="2449354337" sldId="762"/>
            <ac:spMk id="5" creationId="{B3A1D89D-BDC4-9E00-401A-B3D38117685C}"/>
          </ac:spMkLst>
        </pc:spChg>
        <pc:spChg chg="add del mod modVis">
          <ac:chgData name="Francisco Treviño" userId="abe7146e798f448e" providerId="LiveId" clId="{97D938C7-5D03-44B5-AF06-85F2285E6FD2}" dt="2023-08-03T02:22:57.242" v="3809"/>
          <ac:spMkLst>
            <pc:docMk/>
            <pc:sldMk cId="2449354337" sldId="762"/>
            <ac:spMk id="9" creationId="{7DE46C65-B089-7CE7-9CD2-518A6C241BC4}"/>
          </ac:spMkLst>
        </pc:spChg>
        <pc:spChg chg="mod ord">
          <ac:chgData name="Francisco Treviño" userId="abe7146e798f448e" providerId="LiveId" clId="{97D938C7-5D03-44B5-AF06-85F2285E6FD2}" dt="2023-08-03T02:23:06.084" v="3833" actId="20577"/>
          <ac:spMkLst>
            <pc:docMk/>
            <pc:sldMk cId="2449354337" sldId="762"/>
            <ac:spMk id="10" creationId="{8EFFE085-E2C9-8272-BF86-4B5FBEA35846}"/>
          </ac:spMkLst>
        </pc:spChg>
        <pc:graphicFrameChg chg="mod">
          <ac:chgData name="Francisco Treviño" userId="abe7146e798f448e" providerId="LiveId" clId="{97D938C7-5D03-44B5-AF06-85F2285E6FD2}" dt="2023-08-03T02:22:57.243" v="3811"/>
          <ac:graphicFrameMkLst>
            <pc:docMk/>
            <pc:sldMk cId="2449354337" sldId="762"/>
            <ac:graphicFrameMk id="6" creationId="{6340F78E-8A1D-407C-D535-79FCE988D987}"/>
          </ac:graphicFrameMkLst>
        </pc:graphicFrameChg>
        <pc:picChg chg="add mod ord">
          <ac:chgData name="Francisco Treviño" userId="abe7146e798f448e" providerId="LiveId" clId="{97D938C7-5D03-44B5-AF06-85F2285E6FD2}" dt="2023-08-03T02:23:01.488" v="3813" actId="1076"/>
          <ac:picMkLst>
            <pc:docMk/>
            <pc:sldMk cId="2449354337" sldId="762"/>
            <ac:picMk id="7" creationId="{067D68DE-E29E-48EC-9A64-404B99855425}"/>
          </ac:picMkLst>
        </pc:picChg>
        <pc:picChg chg="del mod ord">
          <ac:chgData name="Francisco Treviño" userId="abe7146e798f448e" providerId="LiveId" clId="{97D938C7-5D03-44B5-AF06-85F2285E6FD2}" dt="2023-08-03T02:22:59.030" v="3812" actId="478"/>
          <ac:picMkLst>
            <pc:docMk/>
            <pc:sldMk cId="2449354337" sldId="762"/>
            <ac:picMk id="8" creationId="{4BBEAF51-0D14-ECFA-C16B-CB831AA0DDA5}"/>
          </ac:picMkLst>
        </pc:picChg>
      </pc:sldChg>
      <pc:sldChg chg="del">
        <pc:chgData name="Francisco Treviño" userId="abe7146e798f448e" providerId="LiveId" clId="{97D938C7-5D03-44B5-AF06-85F2285E6FD2}" dt="2023-08-03T00:39:57.241" v="799" actId="47"/>
        <pc:sldMkLst>
          <pc:docMk/>
          <pc:sldMk cId="245877544" sldId="763"/>
        </pc:sldMkLst>
      </pc:sldChg>
      <pc:sldChg chg="addSp delSp modSp add mod">
        <pc:chgData name="Francisco Treviño" userId="abe7146e798f448e" providerId="LiveId" clId="{97D938C7-5D03-44B5-AF06-85F2285E6FD2}" dt="2023-08-03T02:24:14.573" v="3960" actId="14100"/>
        <pc:sldMkLst>
          <pc:docMk/>
          <pc:sldMk cId="3880028698" sldId="763"/>
        </pc:sldMkLst>
        <pc:spChg chg="mod ord">
          <ac:chgData name="Francisco Treviño" userId="abe7146e798f448e" providerId="LiveId" clId="{97D938C7-5D03-44B5-AF06-85F2285E6FD2}" dt="2023-08-03T02:23:48.965" v="3940"/>
          <ac:spMkLst>
            <pc:docMk/>
            <pc:sldMk cId="3880028698" sldId="763"/>
            <ac:spMk id="2" creationId="{9A02571A-D1B6-8EB4-985A-7487325A2207}"/>
          </ac:spMkLst>
        </pc:spChg>
        <pc:spChg chg="mod ord">
          <ac:chgData name="Francisco Treviño" userId="abe7146e798f448e" providerId="LiveId" clId="{97D938C7-5D03-44B5-AF06-85F2285E6FD2}" dt="2023-08-03T02:24:00.861" v="3957" actId="14100"/>
          <ac:spMkLst>
            <pc:docMk/>
            <pc:sldMk cId="3880028698" sldId="763"/>
            <ac:spMk id="4" creationId="{0062FF9D-ABEA-7F67-9898-9929E730C9E7}"/>
          </ac:spMkLst>
        </pc:spChg>
        <pc:spChg chg="mod ord">
          <ac:chgData name="Francisco Treviño" userId="abe7146e798f448e" providerId="LiveId" clId="{97D938C7-5D03-44B5-AF06-85F2285E6FD2}" dt="2023-08-03T02:23:48.966" v="3942"/>
          <ac:spMkLst>
            <pc:docMk/>
            <pc:sldMk cId="3880028698" sldId="763"/>
            <ac:spMk id="5" creationId="{B3A1D89D-BDC4-9E00-401A-B3D38117685C}"/>
          </ac:spMkLst>
        </pc:spChg>
        <pc:spChg chg="add del mod modVis">
          <ac:chgData name="Francisco Treviño" userId="abe7146e798f448e" providerId="LiveId" clId="{97D938C7-5D03-44B5-AF06-85F2285E6FD2}" dt="2023-08-03T02:23:48.967" v="3950"/>
          <ac:spMkLst>
            <pc:docMk/>
            <pc:sldMk cId="3880028698" sldId="763"/>
            <ac:spMk id="9" creationId="{2AC7510E-2171-46C6-DCD1-BCFF50353D77}"/>
          </ac:spMkLst>
        </pc:spChg>
        <pc:spChg chg="mod ord">
          <ac:chgData name="Francisco Treviño" userId="abe7146e798f448e" providerId="LiveId" clId="{97D938C7-5D03-44B5-AF06-85F2285E6FD2}" dt="2023-08-03T02:23:48.966" v="3946"/>
          <ac:spMkLst>
            <pc:docMk/>
            <pc:sldMk cId="3880028698" sldId="763"/>
            <ac:spMk id="10" creationId="{8EFFE085-E2C9-8272-BF86-4B5FBEA35846}"/>
          </ac:spMkLst>
        </pc:spChg>
        <pc:spChg chg="add mod">
          <ac:chgData name="Francisco Treviño" userId="abe7146e798f448e" providerId="LiveId" clId="{97D938C7-5D03-44B5-AF06-85F2285E6FD2}" dt="2023-08-03T02:24:14.573" v="3960" actId="14100"/>
          <ac:spMkLst>
            <pc:docMk/>
            <pc:sldMk cId="3880028698" sldId="763"/>
            <ac:spMk id="11" creationId="{3A52B9E0-8D9A-CF04-BEA7-5276A9872A1B}"/>
          </ac:spMkLst>
        </pc:spChg>
        <pc:graphicFrameChg chg="mod">
          <ac:chgData name="Francisco Treviño" userId="abe7146e798f448e" providerId="LiveId" clId="{97D938C7-5D03-44B5-AF06-85F2285E6FD2}" dt="2023-08-03T02:23:48.969" v="3952"/>
          <ac:graphicFrameMkLst>
            <pc:docMk/>
            <pc:sldMk cId="3880028698" sldId="763"/>
            <ac:graphicFrameMk id="6" creationId="{6340F78E-8A1D-407C-D535-79FCE988D987}"/>
          </ac:graphicFrameMkLst>
        </pc:graphicFrameChg>
        <pc:picChg chg="del">
          <ac:chgData name="Francisco Treviño" userId="abe7146e798f448e" providerId="LiveId" clId="{97D938C7-5D03-44B5-AF06-85F2285E6FD2}" dt="2023-08-03T02:23:46.096" v="3896" actId="478"/>
          <ac:picMkLst>
            <pc:docMk/>
            <pc:sldMk cId="3880028698" sldId="763"/>
            <ac:picMk id="7" creationId="{067D68DE-E29E-48EC-9A64-404B99855425}"/>
          </ac:picMkLst>
        </pc:picChg>
        <pc:picChg chg="add mod ord">
          <ac:chgData name="Francisco Treviño" userId="abe7146e798f448e" providerId="LiveId" clId="{97D938C7-5D03-44B5-AF06-85F2285E6FD2}" dt="2023-08-03T02:23:53.987" v="3954" actId="1076"/>
          <ac:picMkLst>
            <pc:docMk/>
            <pc:sldMk cId="3880028698" sldId="763"/>
            <ac:picMk id="8" creationId="{1496630E-780A-427E-C436-DCB85FDC1F68}"/>
          </ac:picMkLst>
        </pc:picChg>
      </pc:sldChg>
      <pc:sldChg chg="del">
        <pc:chgData name="Francisco Treviño" userId="abe7146e798f448e" providerId="LiveId" clId="{97D938C7-5D03-44B5-AF06-85F2285E6FD2}" dt="2023-08-03T00:40:43.827" v="845" actId="47"/>
        <pc:sldMkLst>
          <pc:docMk/>
          <pc:sldMk cId="48461390" sldId="764"/>
        </pc:sldMkLst>
      </pc:sldChg>
      <pc:sldChg chg="addSp delSp modSp add mod">
        <pc:chgData name="Francisco Treviño" userId="abe7146e798f448e" providerId="LiveId" clId="{97D938C7-5D03-44B5-AF06-85F2285E6FD2}" dt="2023-08-03T02:26:01.267" v="4052" actId="478"/>
        <pc:sldMkLst>
          <pc:docMk/>
          <pc:sldMk cId="317045778" sldId="764"/>
        </pc:sldMkLst>
        <pc:spChg chg="mod ord">
          <ac:chgData name="Francisco Treviño" userId="abe7146e798f448e" providerId="LiveId" clId="{97D938C7-5D03-44B5-AF06-85F2285E6FD2}" dt="2023-08-03T02:25:13.245" v="4023"/>
          <ac:spMkLst>
            <pc:docMk/>
            <pc:sldMk cId="317045778" sldId="764"/>
            <ac:spMk id="2" creationId="{9A02571A-D1B6-8EB4-985A-7487325A2207}"/>
          </ac:spMkLst>
        </pc:spChg>
        <pc:spChg chg="add del mod modVis">
          <ac:chgData name="Francisco Treviño" userId="abe7146e798f448e" providerId="LiveId" clId="{97D938C7-5D03-44B5-AF06-85F2285E6FD2}" dt="2023-08-03T02:25:04.001" v="4011"/>
          <ac:spMkLst>
            <pc:docMk/>
            <pc:sldMk cId="317045778" sldId="764"/>
            <ac:spMk id="3" creationId="{1CE291A8-70F0-B265-39C9-755FF7BFFF06}"/>
          </ac:spMkLst>
        </pc:spChg>
        <pc:spChg chg="del mod ord">
          <ac:chgData name="Francisco Treviño" userId="abe7146e798f448e" providerId="LiveId" clId="{97D938C7-5D03-44B5-AF06-85F2285E6FD2}" dt="2023-08-03T02:25:16.857" v="4037" actId="478"/>
          <ac:spMkLst>
            <pc:docMk/>
            <pc:sldMk cId="317045778" sldId="764"/>
            <ac:spMk id="4" creationId="{0062FF9D-ABEA-7F67-9898-9929E730C9E7}"/>
          </ac:spMkLst>
        </pc:spChg>
        <pc:spChg chg="mod ord">
          <ac:chgData name="Francisco Treviño" userId="abe7146e798f448e" providerId="LiveId" clId="{97D938C7-5D03-44B5-AF06-85F2285E6FD2}" dt="2023-08-03T02:25:13.245" v="4025"/>
          <ac:spMkLst>
            <pc:docMk/>
            <pc:sldMk cId="317045778" sldId="764"/>
            <ac:spMk id="5" creationId="{B3A1D89D-BDC4-9E00-401A-B3D38117685C}"/>
          </ac:spMkLst>
        </pc:spChg>
        <pc:spChg chg="del mod ord">
          <ac:chgData name="Francisco Treviño" userId="abe7146e798f448e" providerId="LiveId" clId="{97D938C7-5D03-44B5-AF06-85F2285E6FD2}" dt="2023-08-03T02:26:01.267" v="4052" actId="478"/>
          <ac:spMkLst>
            <pc:docMk/>
            <pc:sldMk cId="317045778" sldId="764"/>
            <ac:spMk id="10" creationId="{8EFFE085-E2C9-8272-BF86-4B5FBEA35846}"/>
          </ac:spMkLst>
        </pc:spChg>
        <pc:spChg chg="del mod ord">
          <ac:chgData name="Francisco Treviño" userId="abe7146e798f448e" providerId="LiveId" clId="{97D938C7-5D03-44B5-AF06-85F2285E6FD2}" dt="2023-08-03T02:25:15.450" v="4036" actId="478"/>
          <ac:spMkLst>
            <pc:docMk/>
            <pc:sldMk cId="317045778" sldId="764"/>
            <ac:spMk id="11" creationId="{3A52B9E0-8D9A-CF04-BEA7-5276A9872A1B}"/>
          </ac:spMkLst>
        </pc:spChg>
        <pc:spChg chg="add mod">
          <ac:chgData name="Francisco Treviño" userId="abe7146e798f448e" providerId="LiveId" clId="{97D938C7-5D03-44B5-AF06-85F2285E6FD2}" dt="2023-08-03T02:25:55.201" v="4045" actId="1076"/>
          <ac:spMkLst>
            <pc:docMk/>
            <pc:sldMk cId="317045778" sldId="764"/>
            <ac:spMk id="12" creationId="{B98A3562-73B7-04C3-BFBD-2F03CDE2E4D9}"/>
          </ac:spMkLst>
        </pc:spChg>
        <pc:spChg chg="add mod">
          <ac:chgData name="Francisco Treviño" userId="abe7146e798f448e" providerId="LiveId" clId="{97D938C7-5D03-44B5-AF06-85F2285E6FD2}" dt="2023-08-03T02:25:46.975" v="4043" actId="14100"/>
          <ac:spMkLst>
            <pc:docMk/>
            <pc:sldMk cId="317045778" sldId="764"/>
            <ac:spMk id="13" creationId="{3E2744D6-DE43-2C79-9F26-B6DBBE7F0FCA}"/>
          </ac:spMkLst>
        </pc:spChg>
        <pc:spChg chg="add mod">
          <ac:chgData name="Francisco Treviño" userId="abe7146e798f448e" providerId="LiveId" clId="{97D938C7-5D03-44B5-AF06-85F2285E6FD2}" dt="2023-08-03T02:25:58.814" v="4051" actId="20577"/>
          <ac:spMkLst>
            <pc:docMk/>
            <pc:sldMk cId="317045778" sldId="764"/>
            <ac:spMk id="14" creationId="{08956B84-7844-5DA4-FB4C-8E619E3F96BE}"/>
          </ac:spMkLst>
        </pc:spChg>
        <pc:graphicFrameChg chg="mod">
          <ac:chgData name="Francisco Treviño" userId="abe7146e798f448e" providerId="LiveId" clId="{97D938C7-5D03-44B5-AF06-85F2285E6FD2}" dt="2023-08-03T02:25:13.249" v="4035"/>
          <ac:graphicFrameMkLst>
            <pc:docMk/>
            <pc:sldMk cId="317045778" sldId="764"/>
            <ac:graphicFrameMk id="6" creationId="{6340F78E-8A1D-407C-D535-79FCE988D987}"/>
          </ac:graphicFrameMkLst>
        </pc:graphicFrameChg>
        <pc:picChg chg="del">
          <ac:chgData name="Francisco Treviño" userId="abe7146e798f448e" providerId="LiveId" clId="{97D938C7-5D03-44B5-AF06-85F2285E6FD2}" dt="2023-08-03T02:25:05.204" v="4014" actId="478"/>
          <ac:picMkLst>
            <pc:docMk/>
            <pc:sldMk cId="317045778" sldId="764"/>
            <ac:picMk id="8" creationId="{1496630E-780A-427E-C436-DCB85FDC1F68}"/>
          </ac:picMkLst>
        </pc:picChg>
        <pc:picChg chg="add mod ord">
          <ac:chgData name="Francisco Treviño" userId="abe7146e798f448e" providerId="LiveId" clId="{97D938C7-5D03-44B5-AF06-85F2285E6FD2}" dt="2023-08-03T02:25:41.768" v="4041" actId="1076"/>
          <ac:picMkLst>
            <pc:docMk/>
            <pc:sldMk cId="317045778" sldId="764"/>
            <ac:picMk id="9" creationId="{5DDE8104-5FB4-4C63-1940-CBC31D964D9F}"/>
          </ac:picMkLst>
        </pc:picChg>
      </pc:sldChg>
      <pc:sldChg chg="addSp delSp modSp add mod">
        <pc:chgData name="Francisco Treviño" userId="abe7146e798f448e" providerId="LiveId" clId="{97D938C7-5D03-44B5-AF06-85F2285E6FD2}" dt="2023-08-03T02:26:11.165" v="4109"/>
        <pc:sldMkLst>
          <pc:docMk/>
          <pc:sldMk cId="2022003905" sldId="765"/>
        </pc:sldMkLst>
        <pc:spChg chg="add del mod modVis">
          <ac:chgData name="Francisco Treviño" userId="abe7146e798f448e" providerId="LiveId" clId="{97D938C7-5D03-44B5-AF06-85F2285E6FD2}" dt="2023-08-03T02:26:11.163" v="4107"/>
          <ac:spMkLst>
            <pc:docMk/>
            <pc:sldMk cId="2022003905" sldId="765"/>
            <ac:spMk id="2" creationId="{8394A845-A6F1-AE54-7DCF-FB30B3E790A6}"/>
          </ac:spMkLst>
        </pc:spChg>
        <pc:spChg chg="mod">
          <ac:chgData name="Francisco Treviño" userId="abe7146e798f448e" providerId="LiveId" clId="{97D938C7-5D03-44B5-AF06-85F2285E6FD2}" dt="2023-08-03T02:26:11.140" v="4066" actId="948"/>
          <ac:spMkLst>
            <pc:docMk/>
            <pc:sldMk cId="2022003905" sldId="765"/>
            <ac:spMk id="4" creationId="{7B84A045-2D43-9859-3469-84775715D19E}"/>
          </ac:spMkLst>
        </pc:spChg>
        <pc:graphicFrameChg chg="mod">
          <ac:chgData name="Francisco Treviño" userId="abe7146e798f448e" providerId="LiveId" clId="{97D938C7-5D03-44B5-AF06-85F2285E6FD2}" dt="2023-08-03T02:26:11.165" v="4109"/>
          <ac:graphicFrameMkLst>
            <pc:docMk/>
            <pc:sldMk cId="2022003905" sldId="765"/>
            <ac:graphicFrameMk id="7" creationId="{56BD78A3-C4FF-27E8-1B40-A974254C4035}"/>
          </ac:graphicFrameMkLst>
        </pc:graphicFrameChg>
      </pc:sldChg>
      <pc:sldChg chg="del">
        <pc:chgData name="Francisco Treviño" userId="abe7146e798f448e" providerId="LiveId" clId="{97D938C7-5D03-44B5-AF06-85F2285E6FD2}" dt="2023-08-03T00:40:38.095" v="834" actId="47"/>
        <pc:sldMkLst>
          <pc:docMk/>
          <pc:sldMk cId="2322749654" sldId="766"/>
        </pc:sldMkLst>
      </pc:sldChg>
      <pc:sldChg chg="del">
        <pc:chgData name="Francisco Treviño" userId="abe7146e798f448e" providerId="LiveId" clId="{97D938C7-5D03-44B5-AF06-85F2285E6FD2}" dt="2023-08-03T00:39:57.031" v="798" actId="47"/>
        <pc:sldMkLst>
          <pc:docMk/>
          <pc:sldMk cId="2316302699" sldId="767"/>
        </pc:sldMkLst>
      </pc:sldChg>
      <pc:sldChg chg="del">
        <pc:chgData name="Francisco Treviño" userId="abe7146e798f448e" providerId="LiveId" clId="{97D938C7-5D03-44B5-AF06-85F2285E6FD2}" dt="2023-08-03T00:39:56.732" v="797" actId="47"/>
        <pc:sldMkLst>
          <pc:docMk/>
          <pc:sldMk cId="1075432069" sldId="768"/>
        </pc:sldMkLst>
      </pc:sldChg>
      <pc:sldChg chg="del">
        <pc:chgData name="Francisco Treviño" userId="abe7146e798f448e" providerId="LiveId" clId="{97D938C7-5D03-44B5-AF06-85F2285E6FD2}" dt="2023-08-03T00:39:56.216" v="796" actId="47"/>
        <pc:sldMkLst>
          <pc:docMk/>
          <pc:sldMk cId="3498294395" sldId="769"/>
        </pc:sldMkLst>
      </pc:sldChg>
      <pc:sldChg chg="del">
        <pc:chgData name="Francisco Treviño" userId="abe7146e798f448e" providerId="LiveId" clId="{97D938C7-5D03-44B5-AF06-85F2285E6FD2}" dt="2023-08-03T00:39:55.831" v="795" actId="47"/>
        <pc:sldMkLst>
          <pc:docMk/>
          <pc:sldMk cId="1352671265" sldId="770"/>
        </pc:sldMkLst>
      </pc:sldChg>
      <pc:sldChg chg="del">
        <pc:chgData name="Francisco Treviño" userId="abe7146e798f448e" providerId="LiveId" clId="{97D938C7-5D03-44B5-AF06-85F2285E6FD2}" dt="2023-08-03T00:39:45.956" v="793" actId="47"/>
        <pc:sldMkLst>
          <pc:docMk/>
          <pc:sldMk cId="2981423711" sldId="771"/>
        </pc:sldMkLst>
      </pc:sldChg>
      <pc:sldChg chg="del">
        <pc:chgData name="Francisco Treviño" userId="abe7146e798f448e" providerId="LiveId" clId="{97D938C7-5D03-44B5-AF06-85F2285E6FD2}" dt="2023-08-03T00:39:45.140" v="792" actId="47"/>
        <pc:sldMkLst>
          <pc:docMk/>
          <pc:sldMk cId="2239696339" sldId="772"/>
        </pc:sldMkLst>
      </pc:sldChg>
      <pc:sldChg chg="del">
        <pc:chgData name="Francisco Treviño" userId="abe7146e798f448e" providerId="LiveId" clId="{97D938C7-5D03-44B5-AF06-85F2285E6FD2}" dt="2023-08-03T00:39:58.408" v="805" actId="47"/>
        <pc:sldMkLst>
          <pc:docMk/>
          <pc:sldMk cId="1348938577" sldId="773"/>
        </pc:sldMkLst>
      </pc:sldChg>
      <pc:sldChg chg="del">
        <pc:chgData name="Francisco Treviño" userId="abe7146e798f448e" providerId="LiveId" clId="{97D938C7-5D03-44B5-AF06-85F2285E6FD2}" dt="2023-08-03T00:40:52.638" v="853" actId="47"/>
        <pc:sldMkLst>
          <pc:docMk/>
          <pc:sldMk cId="3676102012" sldId="774"/>
        </pc:sldMkLst>
      </pc:sldChg>
      <pc:sldChg chg="del">
        <pc:chgData name="Francisco Treviño" userId="abe7146e798f448e" providerId="LiveId" clId="{97D938C7-5D03-44B5-AF06-85F2285E6FD2}" dt="2023-08-03T00:39:57.469" v="800" actId="47"/>
        <pc:sldMkLst>
          <pc:docMk/>
          <pc:sldMk cId="344060371" sldId="775"/>
        </pc:sldMkLst>
      </pc:sldChg>
      <pc:sldChg chg="del">
        <pc:chgData name="Francisco Treviño" userId="abe7146e798f448e" providerId="LiveId" clId="{97D938C7-5D03-44B5-AF06-85F2285E6FD2}" dt="2023-08-03T00:39:58.047" v="803" actId="47"/>
        <pc:sldMkLst>
          <pc:docMk/>
          <pc:sldMk cId="2363828554" sldId="776"/>
        </pc:sldMkLst>
      </pc:sldChg>
      <pc:sldChg chg="del">
        <pc:chgData name="Francisco Treviño" userId="abe7146e798f448e" providerId="LiveId" clId="{97D938C7-5D03-44B5-AF06-85F2285E6FD2}" dt="2023-08-03T00:39:57.850" v="802" actId="47"/>
        <pc:sldMkLst>
          <pc:docMk/>
          <pc:sldMk cId="455439825" sldId="778"/>
        </pc:sldMkLst>
      </pc:sldChg>
      <pc:sldChg chg="del">
        <pc:chgData name="Francisco Treviño" userId="abe7146e798f448e" providerId="LiveId" clId="{97D938C7-5D03-44B5-AF06-85F2285E6FD2}" dt="2023-08-03T00:40:01.458" v="813" actId="47"/>
        <pc:sldMkLst>
          <pc:docMk/>
          <pc:sldMk cId="138853156" sldId="780"/>
        </pc:sldMkLst>
      </pc:sldChg>
      <pc:sldChg chg="del">
        <pc:chgData name="Francisco Treviño" userId="abe7146e798f448e" providerId="LiveId" clId="{97D938C7-5D03-44B5-AF06-85F2285E6FD2}" dt="2023-08-03T00:40:01.219" v="812" actId="47"/>
        <pc:sldMkLst>
          <pc:docMk/>
          <pc:sldMk cId="3982785224" sldId="781"/>
        </pc:sldMkLst>
      </pc:sldChg>
      <pc:sldChg chg="del">
        <pc:chgData name="Francisco Treviño" userId="abe7146e798f448e" providerId="LiveId" clId="{97D938C7-5D03-44B5-AF06-85F2285E6FD2}" dt="2023-08-03T00:40:01.008" v="811" actId="47"/>
        <pc:sldMkLst>
          <pc:docMk/>
          <pc:sldMk cId="264838919" sldId="782"/>
        </pc:sldMkLst>
      </pc:sldChg>
      <pc:sldChg chg="del">
        <pc:chgData name="Francisco Treviño" userId="abe7146e798f448e" providerId="LiveId" clId="{97D938C7-5D03-44B5-AF06-85F2285E6FD2}" dt="2023-08-03T00:40:00.835" v="810" actId="47"/>
        <pc:sldMkLst>
          <pc:docMk/>
          <pc:sldMk cId="3695605126" sldId="783"/>
        </pc:sldMkLst>
      </pc:sldChg>
      <pc:sldChg chg="del">
        <pc:chgData name="Francisco Treviño" userId="abe7146e798f448e" providerId="LiveId" clId="{97D938C7-5D03-44B5-AF06-85F2285E6FD2}" dt="2023-08-03T00:40:00.661" v="809" actId="47"/>
        <pc:sldMkLst>
          <pc:docMk/>
          <pc:sldMk cId="230473399" sldId="784"/>
        </pc:sldMkLst>
      </pc:sldChg>
      <pc:sldChg chg="del">
        <pc:chgData name="Francisco Treviño" userId="abe7146e798f448e" providerId="LiveId" clId="{97D938C7-5D03-44B5-AF06-85F2285E6FD2}" dt="2023-08-03T00:40:00.461" v="808" actId="47"/>
        <pc:sldMkLst>
          <pc:docMk/>
          <pc:sldMk cId="388909943" sldId="785"/>
        </pc:sldMkLst>
      </pc:sldChg>
      <pc:sldChg chg="del">
        <pc:chgData name="Francisco Treviño" userId="abe7146e798f448e" providerId="LiveId" clId="{97D938C7-5D03-44B5-AF06-85F2285E6FD2}" dt="2023-08-03T00:40:00.215" v="807" actId="47"/>
        <pc:sldMkLst>
          <pc:docMk/>
          <pc:sldMk cId="454221890" sldId="786"/>
        </pc:sldMkLst>
      </pc:sldChg>
      <pc:sldChg chg="del">
        <pc:chgData name="Francisco Treviño" userId="abe7146e798f448e" providerId="LiveId" clId="{97D938C7-5D03-44B5-AF06-85F2285E6FD2}" dt="2023-08-03T00:40:37.269" v="830" actId="47"/>
        <pc:sldMkLst>
          <pc:docMk/>
          <pc:sldMk cId="1721118977" sldId="787"/>
        </pc:sldMkLst>
      </pc:sldChg>
      <pc:sldChg chg="del">
        <pc:chgData name="Francisco Treviño" userId="abe7146e798f448e" providerId="LiveId" clId="{97D938C7-5D03-44B5-AF06-85F2285E6FD2}" dt="2023-08-03T00:40:40.414" v="839" actId="47"/>
        <pc:sldMkLst>
          <pc:docMk/>
          <pc:sldMk cId="4054642794" sldId="788"/>
        </pc:sldMkLst>
      </pc:sldChg>
      <pc:sldChg chg="del">
        <pc:chgData name="Francisco Treviño" userId="abe7146e798f448e" providerId="LiveId" clId="{97D938C7-5D03-44B5-AF06-85F2285E6FD2}" dt="2023-08-03T00:40:40.666" v="840" actId="47"/>
        <pc:sldMkLst>
          <pc:docMk/>
          <pc:sldMk cId="3593462369" sldId="789"/>
        </pc:sldMkLst>
      </pc:sldChg>
      <pc:sldChg chg="del">
        <pc:chgData name="Francisco Treviño" userId="abe7146e798f448e" providerId="LiveId" clId="{97D938C7-5D03-44B5-AF06-85F2285E6FD2}" dt="2023-08-03T00:40:41.200" v="841" actId="47"/>
        <pc:sldMkLst>
          <pc:docMk/>
          <pc:sldMk cId="4031962087" sldId="790"/>
        </pc:sldMkLst>
      </pc:sldChg>
      <pc:sldChg chg="del">
        <pc:chgData name="Francisco Treviño" userId="abe7146e798f448e" providerId="LiveId" clId="{97D938C7-5D03-44B5-AF06-85F2285E6FD2}" dt="2023-08-03T00:40:41.631" v="842" actId="47"/>
        <pc:sldMkLst>
          <pc:docMk/>
          <pc:sldMk cId="2344432499" sldId="791"/>
        </pc:sldMkLst>
      </pc:sldChg>
      <pc:sldChg chg="del">
        <pc:chgData name="Francisco Treviño" userId="abe7146e798f448e" providerId="LiveId" clId="{97D938C7-5D03-44B5-AF06-85F2285E6FD2}" dt="2023-08-03T00:40:42.054" v="843" actId="47"/>
        <pc:sldMkLst>
          <pc:docMk/>
          <pc:sldMk cId="3543598866" sldId="792"/>
        </pc:sldMkLst>
      </pc:sldChg>
      <pc:sldChg chg="del">
        <pc:chgData name="Francisco Treviño" userId="abe7146e798f448e" providerId="LiveId" clId="{97D938C7-5D03-44B5-AF06-85F2285E6FD2}" dt="2023-08-03T00:40:44.939" v="847" actId="47"/>
        <pc:sldMkLst>
          <pc:docMk/>
          <pc:sldMk cId="1068216201" sldId="793"/>
        </pc:sldMkLst>
      </pc:sldChg>
      <pc:sldChg chg="del">
        <pc:chgData name="Francisco Treviño" userId="abe7146e798f448e" providerId="LiveId" clId="{97D938C7-5D03-44B5-AF06-85F2285E6FD2}" dt="2023-08-03T00:40:46.296" v="848" actId="47"/>
        <pc:sldMkLst>
          <pc:docMk/>
          <pc:sldMk cId="1989159200" sldId="794"/>
        </pc:sldMkLst>
      </pc:sldChg>
      <pc:sldChg chg="del">
        <pc:chgData name="Francisco Treviño" userId="abe7146e798f448e" providerId="LiveId" clId="{97D938C7-5D03-44B5-AF06-85F2285E6FD2}" dt="2023-08-03T00:40:47.327" v="850" actId="47"/>
        <pc:sldMkLst>
          <pc:docMk/>
          <pc:sldMk cId="2017365589" sldId="795"/>
        </pc:sldMkLst>
      </pc:sldChg>
      <pc:sldChg chg="del">
        <pc:chgData name="Francisco Treviño" userId="abe7146e798f448e" providerId="LiveId" clId="{97D938C7-5D03-44B5-AF06-85F2285E6FD2}" dt="2023-08-03T00:40:46.757" v="849" actId="47"/>
        <pc:sldMkLst>
          <pc:docMk/>
          <pc:sldMk cId="2001813655" sldId="796"/>
        </pc:sldMkLst>
      </pc:sldChg>
    </pc:docChg>
  </pc:docChgLst>
  <pc:docChgLst>
    <pc:chgData name="Francisco Treviño" userId="abe7146e798f448e" providerId="LiveId" clId="{34BE4227-F304-426D-84C4-5A5A85A14773}"/>
    <pc:docChg chg="undo custSel addSld delSld modSld sldOrd addSection modSection replTag">
      <pc:chgData name="Francisco Treviño" userId="abe7146e798f448e" providerId="LiveId" clId="{34BE4227-F304-426D-84C4-5A5A85A14773}" dt="2023-08-03T03:03:31.632" v="5395"/>
      <pc:docMkLst>
        <pc:docMk/>
      </pc:docMkLst>
      <pc:sldChg chg="modSp mod">
        <pc:chgData name="Francisco Treviño" userId="abe7146e798f448e" providerId="LiveId" clId="{34BE4227-F304-426D-84C4-5A5A85A14773}" dt="2023-08-03T02:33:36.338" v="301" actId="20577"/>
        <pc:sldMkLst>
          <pc:docMk/>
          <pc:sldMk cId="3714809211" sldId="747"/>
        </pc:sldMkLst>
        <pc:spChg chg="mod">
          <ac:chgData name="Francisco Treviño" userId="abe7146e798f448e" providerId="LiveId" clId="{34BE4227-F304-426D-84C4-5A5A85A14773}" dt="2023-08-03T02:33:36.338" v="301" actId="20577"/>
          <ac:spMkLst>
            <pc:docMk/>
            <pc:sldMk cId="3714809211" sldId="747"/>
            <ac:spMk id="13" creationId="{CED41CC1-80ED-C112-F7C8-D3094614299F}"/>
          </ac:spMkLst>
        </pc:spChg>
      </pc:sldChg>
      <pc:sldChg chg="modSp mod">
        <pc:chgData name="Francisco Treviño" userId="abe7146e798f448e" providerId="LiveId" clId="{34BE4227-F304-426D-84C4-5A5A85A14773}" dt="2023-08-03T02:43:03.309" v="1723" actId="313"/>
        <pc:sldMkLst>
          <pc:docMk/>
          <pc:sldMk cId="2176863005" sldId="749"/>
        </pc:sldMkLst>
        <pc:spChg chg="mod">
          <ac:chgData name="Francisco Treviño" userId="abe7146e798f448e" providerId="LiveId" clId="{34BE4227-F304-426D-84C4-5A5A85A14773}" dt="2023-08-03T02:43:03.309" v="1723" actId="313"/>
          <ac:spMkLst>
            <pc:docMk/>
            <pc:sldMk cId="2176863005" sldId="749"/>
            <ac:spMk id="13" creationId="{CED41CC1-80ED-C112-F7C8-D3094614299F}"/>
          </ac:spMkLst>
        </pc:spChg>
      </pc:sldChg>
      <pc:sldChg chg="modSp mod">
        <pc:chgData name="Francisco Treviño" userId="abe7146e798f448e" providerId="LiveId" clId="{34BE4227-F304-426D-84C4-5A5A85A14773}" dt="2023-08-03T02:33:41.905" v="306" actId="20577"/>
        <pc:sldMkLst>
          <pc:docMk/>
          <pc:sldMk cId="1619085936" sldId="752"/>
        </pc:sldMkLst>
        <pc:spChg chg="mod">
          <ac:chgData name="Francisco Treviño" userId="abe7146e798f448e" providerId="LiveId" clId="{34BE4227-F304-426D-84C4-5A5A85A14773}" dt="2023-08-03T02:33:41.905" v="306" actId="20577"/>
          <ac:spMkLst>
            <pc:docMk/>
            <pc:sldMk cId="1619085936" sldId="752"/>
            <ac:spMk id="13" creationId="{CED41CC1-80ED-C112-F7C8-D3094614299F}"/>
          </ac:spMkLst>
        </pc:spChg>
      </pc:sldChg>
      <pc:sldChg chg="modSp mod">
        <pc:chgData name="Francisco Treviño" userId="abe7146e798f448e" providerId="LiveId" clId="{34BE4227-F304-426D-84C4-5A5A85A14773}" dt="2023-08-03T02:35:46.463" v="528" actId="313"/>
        <pc:sldMkLst>
          <pc:docMk/>
          <pc:sldMk cId="169489835" sldId="755"/>
        </pc:sldMkLst>
        <pc:spChg chg="mod">
          <ac:chgData name="Francisco Treviño" userId="abe7146e798f448e" providerId="LiveId" clId="{34BE4227-F304-426D-84C4-5A5A85A14773}" dt="2023-08-03T02:35:46.463" v="528" actId="313"/>
          <ac:spMkLst>
            <pc:docMk/>
            <pc:sldMk cId="169489835" sldId="755"/>
            <ac:spMk id="10" creationId="{8EFFE085-E2C9-8272-BF86-4B5FBEA35846}"/>
          </ac:spMkLst>
        </pc:spChg>
      </pc:sldChg>
      <pc:sldChg chg="modSp mod">
        <pc:chgData name="Francisco Treviño" userId="abe7146e798f448e" providerId="LiveId" clId="{34BE4227-F304-426D-84C4-5A5A85A14773}" dt="2023-08-03T02:33:30.463" v="296" actId="20577"/>
        <pc:sldMkLst>
          <pc:docMk/>
          <pc:sldMk cId="317045778" sldId="764"/>
        </pc:sldMkLst>
        <pc:spChg chg="mod">
          <ac:chgData name="Francisco Treviño" userId="abe7146e798f448e" providerId="LiveId" clId="{34BE4227-F304-426D-84C4-5A5A85A14773}" dt="2023-08-03T02:33:30.463" v="296" actId="20577"/>
          <ac:spMkLst>
            <pc:docMk/>
            <pc:sldMk cId="317045778" sldId="764"/>
            <ac:spMk id="14" creationId="{08956B84-7844-5DA4-FB4C-8E619E3F96BE}"/>
          </ac:spMkLst>
        </pc:spChg>
      </pc:sldChg>
      <pc:sldChg chg="addSp delSp modSp add mod ord">
        <pc:chgData name="Francisco Treviño" userId="abe7146e798f448e" providerId="LiveId" clId="{34BE4227-F304-426D-84C4-5A5A85A14773}" dt="2023-08-03T02:31:48.996" v="114" actId="1076"/>
        <pc:sldMkLst>
          <pc:docMk/>
          <pc:sldMk cId="2075508748" sldId="766"/>
        </pc:sldMkLst>
        <pc:spChg chg="mod ord">
          <ac:chgData name="Francisco Treviño" userId="abe7146e798f448e" providerId="LiveId" clId="{34BE4227-F304-426D-84C4-5A5A85A14773}" dt="2023-08-03T02:31:20.222" v="50"/>
          <ac:spMkLst>
            <pc:docMk/>
            <pc:sldMk cId="2075508748" sldId="766"/>
            <ac:spMk id="2" creationId="{9A02571A-D1B6-8EB4-985A-7487325A2207}"/>
          </ac:spMkLst>
        </pc:spChg>
        <pc:spChg chg="mod ord">
          <ac:chgData name="Francisco Treviño" userId="abe7146e798f448e" providerId="LiveId" clId="{34BE4227-F304-426D-84C4-5A5A85A14773}" dt="2023-08-03T02:31:48.996" v="114" actId="1076"/>
          <ac:spMkLst>
            <pc:docMk/>
            <pc:sldMk cId="2075508748" sldId="766"/>
            <ac:spMk id="4" creationId="{0062FF9D-ABEA-7F67-9898-9929E730C9E7}"/>
          </ac:spMkLst>
        </pc:spChg>
        <pc:spChg chg="mod ord">
          <ac:chgData name="Francisco Treviño" userId="abe7146e798f448e" providerId="LiveId" clId="{34BE4227-F304-426D-84C4-5A5A85A14773}" dt="2023-08-03T02:31:20.223" v="52"/>
          <ac:spMkLst>
            <pc:docMk/>
            <pc:sldMk cId="2075508748" sldId="766"/>
            <ac:spMk id="5" creationId="{B3A1D89D-BDC4-9E00-401A-B3D38117685C}"/>
          </ac:spMkLst>
        </pc:spChg>
        <pc:spChg chg="add del mod modVis">
          <ac:chgData name="Francisco Treviño" userId="abe7146e798f448e" providerId="LiveId" clId="{34BE4227-F304-426D-84C4-5A5A85A14773}" dt="2023-08-03T02:31:20.225" v="62"/>
          <ac:spMkLst>
            <pc:docMk/>
            <pc:sldMk cId="2075508748" sldId="766"/>
            <ac:spMk id="9" creationId="{BDC0EBAC-1D6F-AFF4-7C67-9FA3D58DCEE0}"/>
          </ac:spMkLst>
        </pc:spChg>
        <pc:spChg chg="mod ord">
          <ac:chgData name="Francisco Treviño" userId="abe7146e798f448e" providerId="LiveId" clId="{34BE4227-F304-426D-84C4-5A5A85A14773}" dt="2023-08-03T02:31:48.996" v="114" actId="1076"/>
          <ac:spMkLst>
            <pc:docMk/>
            <pc:sldMk cId="2075508748" sldId="766"/>
            <ac:spMk id="10" creationId="{8EFFE085-E2C9-8272-BF86-4B5FBEA35846}"/>
          </ac:spMkLst>
        </pc:spChg>
        <pc:spChg chg="mod ord">
          <ac:chgData name="Francisco Treviño" userId="abe7146e798f448e" providerId="LiveId" clId="{34BE4227-F304-426D-84C4-5A5A85A14773}" dt="2023-08-03T02:31:48.996" v="114" actId="1076"/>
          <ac:spMkLst>
            <pc:docMk/>
            <pc:sldMk cId="2075508748" sldId="766"/>
            <ac:spMk id="11" creationId="{3A52B9E0-8D9A-CF04-BEA7-5276A9872A1B}"/>
          </ac:spMkLst>
        </pc:spChg>
        <pc:graphicFrameChg chg="mod">
          <ac:chgData name="Francisco Treviño" userId="abe7146e798f448e" providerId="LiveId" clId="{34BE4227-F304-426D-84C4-5A5A85A14773}" dt="2023-08-03T02:31:20.226" v="64"/>
          <ac:graphicFrameMkLst>
            <pc:docMk/>
            <pc:sldMk cId="2075508748" sldId="766"/>
            <ac:graphicFrameMk id="6" creationId="{6340F78E-8A1D-407C-D535-79FCE988D987}"/>
          </ac:graphicFrameMkLst>
        </pc:graphicFrameChg>
        <pc:picChg chg="add mod ord">
          <ac:chgData name="Francisco Treviño" userId="abe7146e798f448e" providerId="LiveId" clId="{34BE4227-F304-426D-84C4-5A5A85A14773}" dt="2023-08-03T02:31:48.996" v="114" actId="1076"/>
          <ac:picMkLst>
            <pc:docMk/>
            <pc:sldMk cId="2075508748" sldId="766"/>
            <ac:picMk id="7" creationId="{DA0E6696-F483-2CBE-C2E3-D64537E30B67}"/>
          </ac:picMkLst>
        </pc:picChg>
        <pc:picChg chg="del">
          <ac:chgData name="Francisco Treviño" userId="abe7146e798f448e" providerId="LiveId" clId="{34BE4227-F304-426D-84C4-5A5A85A14773}" dt="2023-08-03T02:31:13.121" v="4" actId="478"/>
          <ac:picMkLst>
            <pc:docMk/>
            <pc:sldMk cId="2075508748" sldId="766"/>
            <ac:picMk id="8" creationId="{1496630E-780A-427E-C436-DCB85FDC1F68}"/>
          </ac:picMkLst>
        </pc:picChg>
      </pc:sldChg>
      <pc:sldChg chg="addSp delSp modSp add mod ord">
        <pc:chgData name="Francisco Treviño" userId="abe7146e798f448e" providerId="LiveId" clId="{34BE4227-F304-426D-84C4-5A5A85A14773}" dt="2023-08-03T02:32:07.062" v="167"/>
        <pc:sldMkLst>
          <pc:docMk/>
          <pc:sldMk cId="2879045263" sldId="767"/>
        </pc:sldMkLst>
        <pc:spChg chg="add del mod modVis">
          <ac:chgData name="Francisco Treviño" userId="abe7146e798f448e" providerId="LiveId" clId="{34BE4227-F304-426D-84C4-5A5A85A14773}" dt="2023-08-03T02:32:07.061" v="165"/>
          <ac:spMkLst>
            <pc:docMk/>
            <pc:sldMk cId="2879045263" sldId="767"/>
            <ac:spMk id="2" creationId="{C5AFB41D-A48B-6F91-FB57-FC8C443C9A14}"/>
          </ac:spMkLst>
        </pc:spChg>
        <pc:spChg chg="mod">
          <ac:chgData name="Francisco Treviño" userId="abe7146e798f448e" providerId="LiveId" clId="{34BE4227-F304-426D-84C4-5A5A85A14773}" dt="2023-08-03T02:32:07.040" v="124" actId="948"/>
          <ac:spMkLst>
            <pc:docMk/>
            <pc:sldMk cId="2879045263" sldId="767"/>
            <ac:spMk id="4" creationId="{7B84A045-2D43-9859-3469-84775715D19E}"/>
          </ac:spMkLst>
        </pc:spChg>
        <pc:graphicFrameChg chg="mod">
          <ac:chgData name="Francisco Treviño" userId="abe7146e798f448e" providerId="LiveId" clId="{34BE4227-F304-426D-84C4-5A5A85A14773}" dt="2023-08-03T02:32:07.062" v="167"/>
          <ac:graphicFrameMkLst>
            <pc:docMk/>
            <pc:sldMk cId="2879045263" sldId="767"/>
            <ac:graphicFrameMk id="7" creationId="{56BD78A3-C4FF-27E8-1B40-A974254C4035}"/>
          </ac:graphicFrameMkLst>
        </pc:graphicFrameChg>
      </pc:sldChg>
      <pc:sldChg chg="addSp delSp modSp add mod ord">
        <pc:chgData name="Francisco Treviño" userId="abe7146e798f448e" providerId="LiveId" clId="{34BE4227-F304-426D-84C4-5A5A85A14773}" dt="2023-08-03T02:33:24.478" v="291" actId="20577"/>
        <pc:sldMkLst>
          <pc:docMk/>
          <pc:sldMk cId="873805587" sldId="768"/>
        </pc:sldMkLst>
        <pc:spChg chg="mod ord">
          <ac:chgData name="Francisco Treviño" userId="abe7146e798f448e" providerId="LiveId" clId="{34BE4227-F304-426D-84C4-5A5A85A14773}" dt="2023-08-03T02:33:02.826" v="236" actId="948"/>
          <ac:spMkLst>
            <pc:docMk/>
            <pc:sldMk cId="873805587" sldId="768"/>
            <ac:spMk id="2" creationId="{9A02571A-D1B6-8EB4-985A-7487325A2207}"/>
          </ac:spMkLst>
        </pc:spChg>
        <pc:spChg chg="mod ord">
          <ac:chgData name="Francisco Treviño" userId="abe7146e798f448e" providerId="LiveId" clId="{34BE4227-F304-426D-84C4-5A5A85A14773}" dt="2023-08-03T02:32:54.587" v="218"/>
          <ac:spMkLst>
            <pc:docMk/>
            <pc:sldMk cId="873805587" sldId="768"/>
            <ac:spMk id="5" creationId="{B3A1D89D-BDC4-9E00-401A-B3D38117685C}"/>
          </ac:spMkLst>
        </pc:spChg>
        <pc:spChg chg="add del mod modVis">
          <ac:chgData name="Francisco Treviño" userId="abe7146e798f448e" providerId="LiveId" clId="{34BE4227-F304-426D-84C4-5A5A85A14773}" dt="2023-08-03T02:32:54.589" v="228"/>
          <ac:spMkLst>
            <pc:docMk/>
            <pc:sldMk cId="873805587" sldId="768"/>
            <ac:spMk id="7" creationId="{80AA32A6-A62A-56E4-3197-7C80CF731C04}"/>
          </ac:spMkLst>
        </pc:spChg>
        <pc:spChg chg="add del mod modVis">
          <ac:chgData name="Francisco Treviño" userId="abe7146e798f448e" providerId="LiveId" clId="{34BE4227-F304-426D-84C4-5A5A85A14773}" dt="2023-08-03T02:33:02.849" v="277"/>
          <ac:spMkLst>
            <pc:docMk/>
            <pc:sldMk cId="873805587" sldId="768"/>
            <ac:spMk id="8" creationId="{9CE829AD-5147-0949-02E8-AE4FC50784F4}"/>
          </ac:spMkLst>
        </pc:spChg>
        <pc:spChg chg="mod ord">
          <ac:chgData name="Francisco Treviño" userId="abe7146e798f448e" providerId="LiveId" clId="{34BE4227-F304-426D-84C4-5A5A85A14773}" dt="2023-08-03T02:33:10.765" v="281" actId="1076"/>
          <ac:spMkLst>
            <pc:docMk/>
            <pc:sldMk cId="873805587" sldId="768"/>
            <ac:spMk id="12" creationId="{B98A3562-73B7-04C3-BFBD-2F03CDE2E4D9}"/>
          </ac:spMkLst>
        </pc:spChg>
        <pc:spChg chg="mod ord">
          <ac:chgData name="Francisco Treviño" userId="abe7146e798f448e" providerId="LiveId" clId="{34BE4227-F304-426D-84C4-5A5A85A14773}" dt="2023-08-03T02:33:16.579" v="282" actId="1076"/>
          <ac:spMkLst>
            <pc:docMk/>
            <pc:sldMk cId="873805587" sldId="768"/>
            <ac:spMk id="13" creationId="{3E2744D6-DE43-2C79-9F26-B6DBBE7F0FCA}"/>
          </ac:spMkLst>
        </pc:spChg>
        <pc:spChg chg="mod ord">
          <ac:chgData name="Francisco Treviño" userId="abe7146e798f448e" providerId="LiveId" clId="{34BE4227-F304-426D-84C4-5A5A85A14773}" dt="2023-08-03T02:33:24.478" v="291" actId="20577"/>
          <ac:spMkLst>
            <pc:docMk/>
            <pc:sldMk cId="873805587" sldId="768"/>
            <ac:spMk id="14" creationId="{08956B84-7844-5DA4-FB4C-8E619E3F96BE}"/>
          </ac:spMkLst>
        </pc:spChg>
        <pc:graphicFrameChg chg="mod">
          <ac:chgData name="Francisco Treviño" userId="abe7146e798f448e" providerId="LiveId" clId="{34BE4227-F304-426D-84C4-5A5A85A14773}" dt="2023-08-03T02:33:02.851" v="279"/>
          <ac:graphicFrameMkLst>
            <pc:docMk/>
            <pc:sldMk cId="873805587" sldId="768"/>
            <ac:graphicFrameMk id="6" creationId="{6340F78E-8A1D-407C-D535-79FCE988D987}"/>
          </ac:graphicFrameMkLst>
        </pc:graphicFrameChg>
        <pc:picChg chg="add mod ord">
          <ac:chgData name="Francisco Treviño" userId="abe7146e798f448e" providerId="LiveId" clId="{34BE4227-F304-426D-84C4-5A5A85A14773}" dt="2023-08-03T02:33:07.881" v="280" actId="1076"/>
          <ac:picMkLst>
            <pc:docMk/>
            <pc:sldMk cId="873805587" sldId="768"/>
            <ac:picMk id="4" creationId="{1266CB0C-83B8-C86B-DF07-210D8909901D}"/>
          </ac:picMkLst>
        </pc:picChg>
        <pc:picChg chg="del">
          <ac:chgData name="Francisco Treviño" userId="abe7146e798f448e" providerId="LiveId" clId="{34BE4227-F304-426D-84C4-5A5A85A14773}" dt="2023-08-03T02:32:51.770" v="172" actId="478"/>
          <ac:picMkLst>
            <pc:docMk/>
            <pc:sldMk cId="873805587" sldId="768"/>
            <ac:picMk id="9" creationId="{5DDE8104-5FB4-4C63-1940-CBC31D964D9F}"/>
          </ac:picMkLst>
        </pc:picChg>
      </pc:sldChg>
      <pc:sldChg chg="addSp delSp modSp add mod">
        <pc:chgData name="Francisco Treviño" userId="abe7146e798f448e" providerId="LiveId" clId="{34BE4227-F304-426D-84C4-5A5A85A14773}" dt="2023-08-03T02:37:17.007" v="898"/>
        <pc:sldMkLst>
          <pc:docMk/>
          <pc:sldMk cId="3062899484" sldId="769"/>
        </pc:sldMkLst>
        <pc:spChg chg="mod ord">
          <ac:chgData name="Francisco Treviño" userId="abe7146e798f448e" providerId="LiveId" clId="{34BE4227-F304-426D-84C4-5A5A85A14773}" dt="2023-08-03T02:37:16.981" v="855" actId="948"/>
          <ac:spMkLst>
            <pc:docMk/>
            <pc:sldMk cId="3062899484" sldId="769"/>
            <ac:spMk id="2" creationId="{9A02571A-D1B6-8EB4-985A-7487325A2207}"/>
          </ac:spMkLst>
        </pc:spChg>
        <pc:spChg chg="mod ord">
          <ac:chgData name="Francisco Treviño" userId="abe7146e798f448e" providerId="LiveId" clId="{34BE4227-F304-426D-84C4-5A5A85A14773}" dt="2023-08-03T02:34:13.394" v="355"/>
          <ac:spMkLst>
            <pc:docMk/>
            <pc:sldMk cId="3062899484" sldId="769"/>
            <ac:spMk id="5" creationId="{B3A1D89D-BDC4-9E00-401A-B3D38117685C}"/>
          </ac:spMkLst>
        </pc:spChg>
        <pc:spChg chg="add del mod modVis">
          <ac:chgData name="Francisco Treviño" userId="abe7146e798f448e" providerId="LiveId" clId="{34BE4227-F304-426D-84C4-5A5A85A14773}" dt="2023-08-03T02:34:13.396" v="365"/>
          <ac:spMkLst>
            <pc:docMk/>
            <pc:sldMk cId="3062899484" sldId="769"/>
            <ac:spMk id="8" creationId="{779CC1B8-C8EF-B436-6052-A836678B1CA9}"/>
          </ac:spMkLst>
        </pc:spChg>
        <pc:spChg chg="add mod">
          <ac:chgData name="Francisco Treviño" userId="abe7146e798f448e" providerId="LiveId" clId="{34BE4227-F304-426D-84C4-5A5A85A14773}" dt="2023-08-03T02:36:31.436" v="627" actId="14100"/>
          <ac:spMkLst>
            <pc:docMk/>
            <pc:sldMk cId="3062899484" sldId="769"/>
            <ac:spMk id="9" creationId="{25AA00C7-544E-10F7-B016-8C66D817B3DC}"/>
          </ac:spMkLst>
        </pc:spChg>
        <pc:spChg chg="add del mod modVis">
          <ac:chgData name="Francisco Treviño" userId="abe7146e798f448e" providerId="LiveId" clId="{34BE4227-F304-426D-84C4-5A5A85A14773}" dt="2023-08-03T02:37:17.005" v="896"/>
          <ac:spMkLst>
            <pc:docMk/>
            <pc:sldMk cId="3062899484" sldId="769"/>
            <ac:spMk id="10" creationId="{F781D143-1BA2-25F7-0399-C00C060E9011}"/>
          </ac:spMkLst>
        </pc:spChg>
        <pc:spChg chg="mod ord">
          <ac:chgData name="Francisco Treviño" userId="abe7146e798f448e" providerId="LiveId" clId="{34BE4227-F304-426D-84C4-5A5A85A14773}" dt="2023-08-03T02:34:30.435" v="374" actId="14100"/>
          <ac:spMkLst>
            <pc:docMk/>
            <pc:sldMk cId="3062899484" sldId="769"/>
            <ac:spMk id="12" creationId="{B98A3562-73B7-04C3-BFBD-2F03CDE2E4D9}"/>
          </ac:spMkLst>
        </pc:spChg>
        <pc:spChg chg="mod ord">
          <ac:chgData name="Francisco Treviño" userId="abe7146e798f448e" providerId="LiveId" clId="{34BE4227-F304-426D-84C4-5A5A85A14773}" dt="2023-08-03T02:34:38.400" v="378" actId="1076"/>
          <ac:spMkLst>
            <pc:docMk/>
            <pc:sldMk cId="3062899484" sldId="769"/>
            <ac:spMk id="13" creationId="{3E2744D6-DE43-2C79-9F26-B6DBBE7F0FCA}"/>
          </ac:spMkLst>
        </pc:spChg>
        <pc:spChg chg="mod ord">
          <ac:chgData name="Francisco Treviño" userId="abe7146e798f448e" providerId="LiveId" clId="{34BE4227-F304-426D-84C4-5A5A85A14773}" dt="2023-08-03T02:36:41.068" v="675" actId="20577"/>
          <ac:spMkLst>
            <pc:docMk/>
            <pc:sldMk cId="3062899484" sldId="769"/>
            <ac:spMk id="14" creationId="{08956B84-7844-5DA4-FB4C-8E619E3F96BE}"/>
          </ac:spMkLst>
        </pc:spChg>
        <pc:graphicFrameChg chg="mod">
          <ac:chgData name="Francisco Treviño" userId="abe7146e798f448e" providerId="LiveId" clId="{34BE4227-F304-426D-84C4-5A5A85A14773}" dt="2023-08-03T02:37:17.007" v="898"/>
          <ac:graphicFrameMkLst>
            <pc:docMk/>
            <pc:sldMk cId="3062899484" sldId="769"/>
            <ac:graphicFrameMk id="6" creationId="{6340F78E-8A1D-407C-D535-79FCE988D987}"/>
          </ac:graphicFrameMkLst>
        </pc:graphicFrameChg>
        <pc:picChg chg="del">
          <ac:chgData name="Francisco Treviño" userId="abe7146e798f448e" providerId="LiveId" clId="{34BE4227-F304-426D-84C4-5A5A85A14773}" dt="2023-08-03T02:34:11.136" v="309" actId="478"/>
          <ac:picMkLst>
            <pc:docMk/>
            <pc:sldMk cId="3062899484" sldId="769"/>
            <ac:picMk id="4" creationId="{1266CB0C-83B8-C86B-DF07-210D8909901D}"/>
          </ac:picMkLst>
        </pc:picChg>
        <pc:picChg chg="add mod ord">
          <ac:chgData name="Francisco Treviño" userId="abe7146e798f448e" providerId="LiveId" clId="{34BE4227-F304-426D-84C4-5A5A85A14773}" dt="2023-08-03T02:34:17.492" v="369" actId="1076"/>
          <ac:picMkLst>
            <pc:docMk/>
            <pc:sldMk cId="3062899484" sldId="769"/>
            <ac:picMk id="7" creationId="{0C3FD1A1-6C36-484A-0E58-D65CB50991ED}"/>
          </ac:picMkLst>
        </pc:picChg>
      </pc:sldChg>
      <pc:sldChg chg="addSp delSp modSp add mod ord">
        <pc:chgData name="Francisco Treviño" userId="abe7146e798f448e" providerId="LiveId" clId="{34BE4227-F304-426D-84C4-5A5A85A14773}" dt="2023-08-03T02:36:51.366" v="781"/>
        <pc:sldMkLst>
          <pc:docMk/>
          <pc:sldMk cId="3842953946" sldId="770"/>
        </pc:sldMkLst>
        <pc:spChg chg="add del mod modVis">
          <ac:chgData name="Francisco Treviño" userId="abe7146e798f448e" providerId="LiveId" clId="{34BE4227-F304-426D-84C4-5A5A85A14773}" dt="2023-08-03T02:36:49.489" v="722"/>
          <ac:spMkLst>
            <pc:docMk/>
            <pc:sldMk cId="3842953946" sldId="770"/>
            <ac:spMk id="2" creationId="{3A325E8F-A08C-C9FD-6280-8F11739B6E78}"/>
          </ac:spMkLst>
        </pc:spChg>
        <pc:spChg chg="add del mod modVis">
          <ac:chgData name="Francisco Treviño" userId="abe7146e798f448e" providerId="LiveId" clId="{34BE4227-F304-426D-84C4-5A5A85A14773}" dt="2023-08-03T02:36:51.365" v="779"/>
          <ac:spMkLst>
            <pc:docMk/>
            <pc:sldMk cId="3842953946" sldId="770"/>
            <ac:spMk id="3" creationId="{8E8C2318-019D-0781-0584-4BF1D06A711F}"/>
          </ac:spMkLst>
        </pc:spChg>
        <pc:spChg chg="mod">
          <ac:chgData name="Francisco Treviño" userId="abe7146e798f448e" providerId="LiveId" clId="{34BE4227-F304-426D-84C4-5A5A85A14773}" dt="2023-08-03T02:36:51.342" v="738" actId="948"/>
          <ac:spMkLst>
            <pc:docMk/>
            <pc:sldMk cId="3842953946" sldId="770"/>
            <ac:spMk id="4" creationId="{7B84A045-2D43-9859-3469-84775715D19E}"/>
          </ac:spMkLst>
        </pc:spChg>
        <pc:graphicFrameChg chg="mod">
          <ac:chgData name="Francisco Treviño" userId="abe7146e798f448e" providerId="LiveId" clId="{34BE4227-F304-426D-84C4-5A5A85A14773}" dt="2023-08-03T02:36:51.366" v="781"/>
          <ac:graphicFrameMkLst>
            <pc:docMk/>
            <pc:sldMk cId="3842953946" sldId="770"/>
            <ac:graphicFrameMk id="7" creationId="{56BD78A3-C4FF-27E8-1B40-A974254C4035}"/>
          </ac:graphicFrameMkLst>
        </pc:graphicFrameChg>
      </pc:sldChg>
      <pc:sldChg chg="addSp delSp modSp add mod">
        <pc:chgData name="Francisco Treviño" userId="abe7146e798f448e" providerId="LiveId" clId="{34BE4227-F304-426D-84C4-5A5A85A14773}" dt="2023-08-03T02:38:24.039" v="988" actId="14100"/>
        <pc:sldMkLst>
          <pc:docMk/>
          <pc:sldMk cId="3819488321" sldId="771"/>
        </pc:sldMkLst>
        <pc:spChg chg="mod ord">
          <ac:chgData name="Francisco Treviño" userId="abe7146e798f448e" providerId="LiveId" clId="{34BE4227-F304-426D-84C4-5A5A85A14773}" dt="2023-08-03T02:38:11.181" v="971"/>
          <ac:spMkLst>
            <pc:docMk/>
            <pc:sldMk cId="3819488321" sldId="771"/>
            <ac:spMk id="2" creationId="{9A02571A-D1B6-8EB4-985A-7487325A2207}"/>
          </ac:spMkLst>
        </pc:spChg>
        <pc:spChg chg="add del mod modVis">
          <ac:chgData name="Francisco Treviño" userId="abe7146e798f448e" providerId="LiveId" clId="{34BE4227-F304-426D-84C4-5A5A85A14773}" dt="2023-08-03T02:37:12.912" v="839"/>
          <ac:spMkLst>
            <pc:docMk/>
            <pc:sldMk cId="3819488321" sldId="771"/>
            <ac:spMk id="3" creationId="{1A85E94D-CDF7-79F5-520F-A929A21BE0EA}"/>
          </ac:spMkLst>
        </pc:spChg>
        <pc:spChg chg="mod ord">
          <ac:chgData name="Francisco Treviño" userId="abe7146e798f448e" providerId="LiveId" clId="{34BE4227-F304-426D-84C4-5A5A85A14773}" dt="2023-08-03T02:38:11.182" v="973"/>
          <ac:spMkLst>
            <pc:docMk/>
            <pc:sldMk cId="3819488321" sldId="771"/>
            <ac:spMk id="5" creationId="{B3A1D89D-BDC4-9E00-401A-B3D38117685C}"/>
          </ac:spMkLst>
        </pc:spChg>
        <pc:spChg chg="add mod">
          <ac:chgData name="Francisco Treviño" userId="abe7146e798f448e" providerId="LiveId" clId="{34BE4227-F304-426D-84C4-5A5A85A14773}" dt="2023-08-03T02:38:24.039" v="988" actId="14100"/>
          <ac:spMkLst>
            <pc:docMk/>
            <pc:sldMk cId="3819488321" sldId="771"/>
            <ac:spMk id="8" creationId="{10CAC1E5-FD40-D402-896A-6B3F0F2A46DE}"/>
          </ac:spMkLst>
        </pc:spChg>
        <pc:spChg chg="mod ord">
          <ac:chgData name="Francisco Treviño" userId="abe7146e798f448e" providerId="LiveId" clId="{34BE4227-F304-426D-84C4-5A5A85A14773}" dt="2023-08-03T02:38:17.119" v="985" actId="1076"/>
          <ac:spMkLst>
            <pc:docMk/>
            <pc:sldMk cId="3819488321" sldId="771"/>
            <ac:spMk id="12" creationId="{B98A3562-73B7-04C3-BFBD-2F03CDE2E4D9}"/>
          </ac:spMkLst>
        </pc:spChg>
        <pc:spChg chg="mod ord">
          <ac:chgData name="Francisco Treviño" userId="abe7146e798f448e" providerId="LiveId" clId="{34BE4227-F304-426D-84C4-5A5A85A14773}" dt="2023-08-03T02:38:11.183" v="977"/>
          <ac:spMkLst>
            <pc:docMk/>
            <pc:sldMk cId="3819488321" sldId="771"/>
            <ac:spMk id="13" creationId="{3E2744D6-DE43-2C79-9F26-B6DBBE7F0FCA}"/>
          </ac:spMkLst>
        </pc:spChg>
        <pc:spChg chg="mod ord">
          <ac:chgData name="Francisco Treviño" userId="abe7146e798f448e" providerId="LiveId" clId="{34BE4227-F304-426D-84C4-5A5A85A14773}" dt="2023-08-03T02:38:11.183" v="979"/>
          <ac:spMkLst>
            <pc:docMk/>
            <pc:sldMk cId="3819488321" sldId="771"/>
            <ac:spMk id="14" creationId="{08956B84-7844-5DA4-FB4C-8E619E3F96BE}"/>
          </ac:spMkLst>
        </pc:spChg>
        <pc:graphicFrameChg chg="mod">
          <ac:chgData name="Francisco Treviño" userId="abe7146e798f448e" providerId="LiveId" clId="{34BE4227-F304-426D-84C4-5A5A85A14773}" dt="2023-08-03T02:38:11.184" v="983"/>
          <ac:graphicFrameMkLst>
            <pc:docMk/>
            <pc:sldMk cId="3819488321" sldId="771"/>
            <ac:graphicFrameMk id="6" creationId="{6340F78E-8A1D-407C-D535-79FCE988D987}"/>
          </ac:graphicFrameMkLst>
        </pc:graphicFrameChg>
        <pc:picChg chg="add mod ord">
          <ac:chgData name="Francisco Treviño" userId="abe7146e798f448e" providerId="LiveId" clId="{34BE4227-F304-426D-84C4-5A5A85A14773}" dt="2023-08-03T02:38:11.181" v="967"/>
          <ac:picMkLst>
            <pc:docMk/>
            <pc:sldMk cId="3819488321" sldId="771"/>
            <ac:picMk id="7" creationId="{33FCF3E2-3D98-614E-ED20-06AC96DAB558}"/>
          </ac:picMkLst>
        </pc:picChg>
        <pc:picChg chg="del mod ord">
          <ac:chgData name="Francisco Treviño" userId="abe7146e798f448e" providerId="LiveId" clId="{34BE4227-F304-426D-84C4-5A5A85A14773}" dt="2023-08-03T02:38:13.002" v="984" actId="478"/>
          <ac:picMkLst>
            <pc:docMk/>
            <pc:sldMk cId="3819488321" sldId="771"/>
            <ac:picMk id="9" creationId="{5DDE8104-5FB4-4C63-1940-CBC31D964D9F}"/>
          </ac:picMkLst>
        </pc:picChg>
      </pc:sldChg>
      <pc:sldChg chg="addSp delSp modSp add mod">
        <pc:chgData name="Francisco Treviño" userId="abe7146e798f448e" providerId="LiveId" clId="{34BE4227-F304-426D-84C4-5A5A85A14773}" dt="2023-08-03T02:46:57.711" v="2335" actId="21"/>
        <pc:sldMkLst>
          <pc:docMk/>
          <pc:sldMk cId="3031344826" sldId="772"/>
        </pc:sldMkLst>
        <pc:spChg chg="mod ord">
          <ac:chgData name="Francisco Treviño" userId="abe7146e798f448e" providerId="LiveId" clId="{34BE4227-F304-426D-84C4-5A5A85A14773}" dt="2023-08-03T02:39:05.619" v="1101"/>
          <ac:spMkLst>
            <pc:docMk/>
            <pc:sldMk cId="3031344826" sldId="772"/>
            <ac:spMk id="2" creationId="{9A02571A-D1B6-8EB4-985A-7487325A2207}"/>
          </ac:spMkLst>
        </pc:spChg>
        <pc:spChg chg="add del mod modVis">
          <ac:chgData name="Francisco Treviño" userId="abe7146e798f448e" providerId="LiveId" clId="{34BE4227-F304-426D-84C4-5A5A85A14773}" dt="2023-08-03T02:38:34.952" v="1034"/>
          <ac:spMkLst>
            <pc:docMk/>
            <pc:sldMk cId="3031344826" sldId="772"/>
            <ac:spMk id="3" creationId="{9CB8E836-6266-5FCC-E417-28741D9DBC58}"/>
          </ac:spMkLst>
        </pc:spChg>
        <pc:spChg chg="mod ord">
          <ac:chgData name="Francisco Treviño" userId="abe7146e798f448e" providerId="LiveId" clId="{34BE4227-F304-426D-84C4-5A5A85A14773}" dt="2023-08-03T02:39:14.322" v="1127" actId="14100"/>
          <ac:spMkLst>
            <pc:docMk/>
            <pc:sldMk cId="3031344826" sldId="772"/>
            <ac:spMk id="4" creationId="{0062FF9D-ABEA-7F67-9898-9929E730C9E7}"/>
          </ac:spMkLst>
        </pc:spChg>
        <pc:spChg chg="mod ord">
          <ac:chgData name="Francisco Treviño" userId="abe7146e798f448e" providerId="LiveId" clId="{34BE4227-F304-426D-84C4-5A5A85A14773}" dt="2023-08-03T02:39:05.619" v="1103"/>
          <ac:spMkLst>
            <pc:docMk/>
            <pc:sldMk cId="3031344826" sldId="772"/>
            <ac:spMk id="5" creationId="{B3A1D89D-BDC4-9E00-401A-B3D38117685C}"/>
          </ac:spMkLst>
        </pc:spChg>
        <pc:spChg chg="add del mod modVis">
          <ac:chgData name="Francisco Treviño" userId="abe7146e798f448e" providerId="LiveId" clId="{34BE4227-F304-426D-84C4-5A5A85A14773}" dt="2023-08-03T02:38:36.384" v="1087"/>
          <ac:spMkLst>
            <pc:docMk/>
            <pc:sldMk cId="3031344826" sldId="772"/>
            <ac:spMk id="8" creationId="{1FD70564-24B1-FEFE-5016-ED72E89812C7}"/>
          </ac:spMkLst>
        </pc:spChg>
        <pc:spChg chg="mod ord">
          <ac:chgData name="Francisco Treviño" userId="abe7146e798f448e" providerId="LiveId" clId="{34BE4227-F304-426D-84C4-5A5A85A14773}" dt="2023-08-03T02:40:00.285" v="1306" actId="20577"/>
          <ac:spMkLst>
            <pc:docMk/>
            <pc:sldMk cId="3031344826" sldId="772"/>
            <ac:spMk id="10" creationId="{8EFFE085-E2C9-8272-BF86-4B5FBEA35846}"/>
          </ac:spMkLst>
        </pc:spChg>
        <pc:spChg chg="add del mod ord">
          <ac:chgData name="Francisco Treviño" userId="abe7146e798f448e" providerId="LiveId" clId="{34BE4227-F304-426D-84C4-5A5A85A14773}" dt="2023-08-03T02:46:57.711" v="2335" actId="21"/>
          <ac:spMkLst>
            <pc:docMk/>
            <pc:sldMk cId="3031344826" sldId="772"/>
            <ac:spMk id="11" creationId="{3A52B9E0-8D9A-CF04-BEA7-5276A9872A1B}"/>
          </ac:spMkLst>
        </pc:spChg>
        <pc:graphicFrameChg chg="mod">
          <ac:chgData name="Francisco Treviño" userId="abe7146e798f448e" providerId="LiveId" clId="{34BE4227-F304-426D-84C4-5A5A85A14773}" dt="2023-08-03T02:39:05.625" v="1113"/>
          <ac:graphicFrameMkLst>
            <pc:docMk/>
            <pc:sldMk cId="3031344826" sldId="772"/>
            <ac:graphicFrameMk id="6" creationId="{6340F78E-8A1D-407C-D535-79FCE988D987}"/>
          </ac:graphicFrameMkLst>
        </pc:graphicFrameChg>
        <pc:picChg chg="del mod ord">
          <ac:chgData name="Francisco Treviño" userId="abe7146e798f448e" providerId="LiveId" clId="{34BE4227-F304-426D-84C4-5A5A85A14773}" dt="2023-08-03T02:39:07.110" v="1114" actId="478"/>
          <ac:picMkLst>
            <pc:docMk/>
            <pc:sldMk cId="3031344826" sldId="772"/>
            <ac:picMk id="7" creationId="{DA0E6696-F483-2CBE-C2E3-D64537E30B67}"/>
          </ac:picMkLst>
        </pc:picChg>
        <pc:picChg chg="add mod ord">
          <ac:chgData name="Francisco Treviño" userId="abe7146e798f448e" providerId="LiveId" clId="{34BE4227-F304-426D-84C4-5A5A85A14773}" dt="2023-08-03T02:39:10.361" v="1126" actId="1036"/>
          <ac:picMkLst>
            <pc:docMk/>
            <pc:sldMk cId="3031344826" sldId="772"/>
            <ac:picMk id="12" creationId="{73745825-A543-2B6E-DF68-07BF5E4B545B}"/>
          </ac:picMkLst>
        </pc:picChg>
      </pc:sldChg>
      <pc:sldChg chg="addSp delSp modSp add mod ord">
        <pc:chgData name="Francisco Treviño" userId="abe7146e798f448e" providerId="LiveId" clId="{34BE4227-F304-426D-84C4-5A5A85A14773}" dt="2023-08-03T02:40:09.375" v="1401"/>
        <pc:sldMkLst>
          <pc:docMk/>
          <pc:sldMk cId="769651295" sldId="773"/>
        </pc:sldMkLst>
        <pc:spChg chg="add del mod modVis">
          <ac:chgData name="Francisco Treviño" userId="abe7146e798f448e" providerId="LiveId" clId="{34BE4227-F304-426D-84C4-5A5A85A14773}" dt="2023-08-03T02:40:08.367" v="1354"/>
          <ac:spMkLst>
            <pc:docMk/>
            <pc:sldMk cId="769651295" sldId="773"/>
            <ac:spMk id="2" creationId="{3BB31324-0648-3790-A208-1D93BD8C62D7}"/>
          </ac:spMkLst>
        </pc:spChg>
        <pc:spChg chg="add del mod modVis">
          <ac:chgData name="Francisco Treviño" userId="abe7146e798f448e" providerId="LiveId" clId="{34BE4227-F304-426D-84C4-5A5A85A14773}" dt="2023-08-03T02:40:09.374" v="1399"/>
          <ac:spMkLst>
            <pc:docMk/>
            <pc:sldMk cId="769651295" sldId="773"/>
            <ac:spMk id="3" creationId="{C59C615E-F98D-B650-9B13-ACCE935FA5B5}"/>
          </ac:spMkLst>
        </pc:spChg>
        <pc:spChg chg="mod">
          <ac:chgData name="Francisco Treviño" userId="abe7146e798f448e" providerId="LiveId" clId="{34BE4227-F304-426D-84C4-5A5A85A14773}" dt="2023-08-03T02:40:09.351" v="1358" actId="948"/>
          <ac:spMkLst>
            <pc:docMk/>
            <pc:sldMk cId="769651295" sldId="773"/>
            <ac:spMk id="4" creationId="{7B84A045-2D43-9859-3469-84775715D19E}"/>
          </ac:spMkLst>
        </pc:spChg>
        <pc:graphicFrameChg chg="mod">
          <ac:chgData name="Francisco Treviño" userId="abe7146e798f448e" providerId="LiveId" clId="{34BE4227-F304-426D-84C4-5A5A85A14773}" dt="2023-08-03T02:40:09.375" v="1401"/>
          <ac:graphicFrameMkLst>
            <pc:docMk/>
            <pc:sldMk cId="769651295" sldId="773"/>
            <ac:graphicFrameMk id="7" creationId="{56BD78A3-C4FF-27E8-1B40-A974254C4035}"/>
          </ac:graphicFrameMkLst>
        </pc:graphicFrameChg>
      </pc:sldChg>
      <pc:sldChg chg="addSp delSp modSp add mod">
        <pc:chgData name="Francisco Treviño" userId="abe7146e798f448e" providerId="LiveId" clId="{34BE4227-F304-426D-84C4-5A5A85A14773}" dt="2023-08-03T02:40:23.981" v="1456"/>
        <pc:sldMkLst>
          <pc:docMk/>
          <pc:sldMk cId="3152696387" sldId="774"/>
        </pc:sldMkLst>
        <pc:spChg chg="add del mod modVis">
          <ac:chgData name="Francisco Treviño" userId="abe7146e798f448e" providerId="LiveId" clId="{34BE4227-F304-426D-84C4-5A5A85A14773}" dt="2023-08-03T02:40:23.979" v="1454"/>
          <ac:spMkLst>
            <pc:docMk/>
            <pc:sldMk cId="3152696387" sldId="774"/>
            <ac:spMk id="2" creationId="{DC971B4B-1F8D-8322-631A-3D6AFDCE80D4}"/>
          </ac:spMkLst>
        </pc:spChg>
        <pc:spChg chg="mod">
          <ac:chgData name="Francisco Treviño" userId="abe7146e798f448e" providerId="LiveId" clId="{34BE4227-F304-426D-84C4-5A5A85A14773}" dt="2023-08-03T02:40:23.956" v="1413" actId="948"/>
          <ac:spMkLst>
            <pc:docMk/>
            <pc:sldMk cId="3152696387" sldId="774"/>
            <ac:spMk id="4" creationId="{7B84A045-2D43-9859-3469-84775715D19E}"/>
          </ac:spMkLst>
        </pc:spChg>
        <pc:graphicFrameChg chg="mod">
          <ac:chgData name="Francisco Treviño" userId="abe7146e798f448e" providerId="LiveId" clId="{34BE4227-F304-426D-84C4-5A5A85A14773}" dt="2023-08-03T02:40:23.981" v="1456"/>
          <ac:graphicFrameMkLst>
            <pc:docMk/>
            <pc:sldMk cId="3152696387" sldId="774"/>
            <ac:graphicFrameMk id="7" creationId="{56BD78A3-C4FF-27E8-1B40-A974254C4035}"/>
          </ac:graphicFrameMkLst>
        </pc:graphicFrameChg>
      </pc:sldChg>
      <pc:sldChg chg="add del ord">
        <pc:chgData name="Francisco Treviño" userId="abe7146e798f448e" providerId="LiveId" clId="{34BE4227-F304-426D-84C4-5A5A85A14773}" dt="2023-08-03T02:41:03.074" v="1508" actId="47"/>
        <pc:sldMkLst>
          <pc:docMk/>
          <pc:sldMk cId="3507023939" sldId="775"/>
        </pc:sldMkLst>
      </pc:sldChg>
      <pc:sldChg chg="addSp delSp modSp add mod ord">
        <pc:chgData name="Francisco Treviño" userId="abe7146e798f448e" providerId="LiveId" clId="{34BE4227-F304-426D-84C4-5A5A85A14773}" dt="2023-08-03T02:48:01.162" v="2432" actId="1036"/>
        <pc:sldMkLst>
          <pc:docMk/>
          <pc:sldMk cId="2798242950" sldId="776"/>
        </pc:sldMkLst>
        <pc:spChg chg="mod ord">
          <ac:chgData name="Francisco Treviño" userId="abe7146e798f448e" providerId="LiveId" clId="{34BE4227-F304-426D-84C4-5A5A85A14773}" dt="2023-08-03T02:47:47.641" v="2409"/>
          <ac:spMkLst>
            <pc:docMk/>
            <pc:sldMk cId="2798242950" sldId="776"/>
            <ac:spMk id="2" creationId="{9A02571A-D1B6-8EB4-985A-7487325A2207}"/>
          </ac:spMkLst>
        </pc:spChg>
        <pc:spChg chg="add del mod modVis">
          <ac:chgData name="Francisco Treviño" userId="abe7146e798f448e" providerId="LiveId" clId="{34BE4227-F304-426D-84C4-5A5A85A14773}" dt="2023-08-03T02:47:22.133" v="2386"/>
          <ac:spMkLst>
            <pc:docMk/>
            <pc:sldMk cId="2798242950" sldId="776"/>
            <ac:spMk id="3" creationId="{C8CD8A14-6BD7-82A7-F118-EEF20A42E26B}"/>
          </ac:spMkLst>
        </pc:spChg>
        <pc:spChg chg="mod ord">
          <ac:chgData name="Francisco Treviño" userId="abe7146e798f448e" providerId="LiveId" clId="{34BE4227-F304-426D-84C4-5A5A85A14773}" dt="2023-08-03T02:47:47.641" v="2411"/>
          <ac:spMkLst>
            <pc:docMk/>
            <pc:sldMk cId="2798242950" sldId="776"/>
            <ac:spMk id="5" creationId="{B3A1D89D-BDC4-9E00-401A-B3D38117685C}"/>
          </ac:spMkLst>
        </pc:spChg>
        <pc:spChg chg="del">
          <ac:chgData name="Francisco Treviño" userId="abe7146e798f448e" providerId="LiveId" clId="{34BE4227-F304-426D-84C4-5A5A85A14773}" dt="2023-08-03T02:40:36.594" v="1465" actId="478"/>
          <ac:spMkLst>
            <pc:docMk/>
            <pc:sldMk cId="2798242950" sldId="776"/>
            <ac:spMk id="8" creationId="{10CAC1E5-FD40-D402-896A-6B3F0F2A46DE}"/>
          </ac:spMkLst>
        </pc:spChg>
        <pc:spChg chg="mod ord">
          <ac:chgData name="Francisco Treviño" userId="abe7146e798f448e" providerId="LiveId" clId="{34BE4227-F304-426D-84C4-5A5A85A14773}" dt="2023-08-03T02:48:01.162" v="2432" actId="1036"/>
          <ac:spMkLst>
            <pc:docMk/>
            <pc:sldMk cId="2798242950" sldId="776"/>
            <ac:spMk id="12" creationId="{B98A3562-73B7-04C3-BFBD-2F03CDE2E4D9}"/>
          </ac:spMkLst>
        </pc:spChg>
        <pc:spChg chg="mod ord">
          <ac:chgData name="Francisco Treviño" userId="abe7146e798f448e" providerId="LiveId" clId="{34BE4227-F304-426D-84C4-5A5A85A14773}" dt="2023-08-03T02:47:52.316" v="2426" actId="1036"/>
          <ac:spMkLst>
            <pc:docMk/>
            <pc:sldMk cId="2798242950" sldId="776"/>
            <ac:spMk id="13" creationId="{3E2744D6-DE43-2C79-9F26-B6DBBE7F0FCA}"/>
          </ac:spMkLst>
        </pc:spChg>
        <pc:spChg chg="add del mod ord">
          <ac:chgData name="Francisco Treviño" userId="abe7146e798f448e" providerId="LiveId" clId="{34BE4227-F304-426D-84C4-5A5A85A14773}" dt="2023-08-03T02:47:47.642" v="2417"/>
          <ac:spMkLst>
            <pc:docMk/>
            <pc:sldMk cId="2798242950" sldId="776"/>
            <ac:spMk id="14" creationId="{08956B84-7844-5DA4-FB4C-8E619E3F96BE}"/>
          </ac:spMkLst>
        </pc:spChg>
        <pc:graphicFrameChg chg="mod">
          <ac:chgData name="Francisco Treviño" userId="abe7146e798f448e" providerId="LiveId" clId="{34BE4227-F304-426D-84C4-5A5A85A14773}" dt="2023-08-03T02:47:47.644" v="2421"/>
          <ac:graphicFrameMkLst>
            <pc:docMk/>
            <pc:sldMk cId="2798242950" sldId="776"/>
            <ac:graphicFrameMk id="6" creationId="{6340F78E-8A1D-407C-D535-79FCE988D987}"/>
          </ac:graphicFrameMkLst>
        </pc:graphicFrameChg>
        <pc:picChg chg="add del mod ord">
          <ac:chgData name="Francisco Treviño" userId="abe7146e798f448e" providerId="LiveId" clId="{34BE4227-F304-426D-84C4-5A5A85A14773}" dt="2023-08-03T02:47:49.512" v="2422" actId="478"/>
          <ac:picMkLst>
            <pc:docMk/>
            <pc:sldMk cId="2798242950" sldId="776"/>
            <ac:picMk id="7" creationId="{33FCF3E2-3D98-614E-ED20-06AC96DAB558}"/>
          </ac:picMkLst>
        </pc:picChg>
        <pc:picChg chg="add mod ord">
          <ac:chgData name="Francisco Treviño" userId="abe7146e798f448e" providerId="LiveId" clId="{34BE4227-F304-426D-84C4-5A5A85A14773}" dt="2023-08-03T02:47:47.640" v="2405"/>
          <ac:picMkLst>
            <pc:docMk/>
            <pc:sldMk cId="2798242950" sldId="776"/>
            <ac:picMk id="9" creationId="{6F51E5B6-26F5-583F-9518-4E51235E6D06}"/>
          </ac:picMkLst>
        </pc:picChg>
      </pc:sldChg>
      <pc:sldChg chg="addSp delSp modSp add mod">
        <pc:chgData name="Francisco Treviño" userId="abe7146e798f448e" providerId="LiveId" clId="{34BE4227-F304-426D-84C4-5A5A85A14773}" dt="2023-08-03T02:41:44.974" v="1621"/>
        <pc:sldMkLst>
          <pc:docMk/>
          <pc:sldMk cId="384010780" sldId="777"/>
        </pc:sldMkLst>
        <pc:spChg chg="mod ord">
          <ac:chgData name="Francisco Treviño" userId="abe7146e798f448e" providerId="LiveId" clId="{34BE4227-F304-426D-84C4-5A5A85A14773}" dt="2023-08-03T02:41:44.950" v="1578" actId="948"/>
          <ac:spMkLst>
            <pc:docMk/>
            <pc:sldMk cId="384010780" sldId="777"/>
            <ac:spMk id="2" creationId="{9A02571A-D1B6-8EB4-985A-7487325A2207}"/>
          </ac:spMkLst>
        </pc:spChg>
        <pc:spChg chg="mod ord">
          <ac:chgData name="Francisco Treviño" userId="abe7146e798f448e" providerId="LiveId" clId="{34BE4227-F304-426D-84C4-5A5A85A14773}" dt="2023-08-03T02:41:31.462" v="1559"/>
          <ac:spMkLst>
            <pc:docMk/>
            <pc:sldMk cId="384010780" sldId="777"/>
            <ac:spMk id="5" creationId="{B3A1D89D-BDC4-9E00-401A-B3D38117685C}"/>
          </ac:spMkLst>
        </pc:spChg>
        <pc:spChg chg="add del mod modVis">
          <ac:chgData name="Francisco Treviño" userId="abe7146e798f448e" providerId="LiveId" clId="{34BE4227-F304-426D-84C4-5A5A85A14773}" dt="2023-08-03T02:41:31.464" v="1569"/>
          <ac:spMkLst>
            <pc:docMk/>
            <pc:sldMk cId="384010780" sldId="777"/>
            <ac:spMk id="8" creationId="{30C93149-A8BB-38F2-6C9F-73061CE20B97}"/>
          </ac:spMkLst>
        </pc:spChg>
        <pc:spChg chg="add del mod modVis">
          <ac:chgData name="Francisco Treviño" userId="abe7146e798f448e" providerId="LiveId" clId="{34BE4227-F304-426D-84C4-5A5A85A14773}" dt="2023-08-03T02:41:44.973" v="1619"/>
          <ac:spMkLst>
            <pc:docMk/>
            <pc:sldMk cId="384010780" sldId="777"/>
            <ac:spMk id="9" creationId="{F0565F85-469C-FE54-897A-FF3C67A417F5}"/>
          </ac:spMkLst>
        </pc:spChg>
        <pc:spChg chg="mod ord">
          <ac:chgData name="Francisco Treviño" userId="abe7146e798f448e" providerId="LiveId" clId="{34BE4227-F304-426D-84C4-5A5A85A14773}" dt="2023-08-03T02:41:41.427" v="1574" actId="1076"/>
          <ac:spMkLst>
            <pc:docMk/>
            <pc:sldMk cId="384010780" sldId="777"/>
            <ac:spMk id="12" creationId="{B98A3562-73B7-04C3-BFBD-2F03CDE2E4D9}"/>
          </ac:spMkLst>
        </pc:spChg>
        <pc:spChg chg="mod ord">
          <ac:chgData name="Francisco Treviño" userId="abe7146e798f448e" providerId="LiveId" clId="{34BE4227-F304-426D-84C4-5A5A85A14773}" dt="2023-08-03T02:41:37.245" v="1573" actId="14100"/>
          <ac:spMkLst>
            <pc:docMk/>
            <pc:sldMk cId="384010780" sldId="777"/>
            <ac:spMk id="13" creationId="{3E2744D6-DE43-2C79-9F26-B6DBBE7F0FCA}"/>
          </ac:spMkLst>
        </pc:spChg>
        <pc:spChg chg="mod ord">
          <ac:chgData name="Francisco Treviño" userId="abe7146e798f448e" providerId="LiveId" clId="{34BE4227-F304-426D-84C4-5A5A85A14773}" dt="2023-08-03T02:41:31.463" v="1565"/>
          <ac:spMkLst>
            <pc:docMk/>
            <pc:sldMk cId="384010780" sldId="777"/>
            <ac:spMk id="14" creationId="{08956B84-7844-5DA4-FB4C-8E619E3F96BE}"/>
          </ac:spMkLst>
        </pc:spChg>
        <pc:graphicFrameChg chg="mod">
          <ac:chgData name="Francisco Treviño" userId="abe7146e798f448e" providerId="LiveId" clId="{34BE4227-F304-426D-84C4-5A5A85A14773}" dt="2023-08-03T02:41:44.974" v="1621"/>
          <ac:graphicFrameMkLst>
            <pc:docMk/>
            <pc:sldMk cId="384010780" sldId="777"/>
            <ac:graphicFrameMk id="6" creationId="{6340F78E-8A1D-407C-D535-79FCE988D987}"/>
          </ac:graphicFrameMkLst>
        </pc:graphicFrameChg>
        <pc:picChg chg="add mod ord">
          <ac:chgData name="Francisco Treviño" userId="abe7146e798f448e" providerId="LiveId" clId="{34BE4227-F304-426D-84C4-5A5A85A14773}" dt="2023-08-03T02:41:31.461" v="1553"/>
          <ac:picMkLst>
            <pc:docMk/>
            <pc:sldMk cId="384010780" sldId="777"/>
            <ac:picMk id="4" creationId="{7891584B-DA8D-A363-99EE-0116F3CB7005}"/>
          </ac:picMkLst>
        </pc:picChg>
        <pc:picChg chg="del mod ord">
          <ac:chgData name="Francisco Treviño" userId="abe7146e798f448e" providerId="LiveId" clId="{34BE4227-F304-426D-84C4-5A5A85A14773}" dt="2023-08-03T02:41:32.983" v="1572" actId="478"/>
          <ac:picMkLst>
            <pc:docMk/>
            <pc:sldMk cId="384010780" sldId="777"/>
            <ac:picMk id="7" creationId="{33FCF3E2-3D98-614E-ED20-06AC96DAB558}"/>
          </ac:picMkLst>
        </pc:picChg>
      </pc:sldChg>
      <pc:sldChg chg="addSp delSp modSp add mod ord">
        <pc:chgData name="Francisco Treviño" userId="abe7146e798f448e" providerId="LiveId" clId="{34BE4227-F304-426D-84C4-5A5A85A14773}" dt="2023-08-03T02:43:22.988" v="1732" actId="1076"/>
        <pc:sldMkLst>
          <pc:docMk/>
          <pc:sldMk cId="1200230370" sldId="778"/>
        </pc:sldMkLst>
        <pc:spChg chg="mod ord">
          <ac:chgData name="Francisco Treviño" userId="abe7146e798f448e" providerId="LiveId" clId="{34BE4227-F304-426D-84C4-5A5A85A14773}" dt="2023-08-03T02:42:36.925" v="1682"/>
          <ac:spMkLst>
            <pc:docMk/>
            <pc:sldMk cId="1200230370" sldId="778"/>
            <ac:spMk id="2" creationId="{9A02571A-D1B6-8EB4-985A-7487325A2207}"/>
          </ac:spMkLst>
        </pc:spChg>
        <pc:spChg chg="add del mod modVis">
          <ac:chgData name="Francisco Treviño" userId="abe7146e798f448e" providerId="LiveId" clId="{34BE4227-F304-426D-84C4-5A5A85A14773}" dt="2023-08-03T02:42:27.847" v="1670"/>
          <ac:spMkLst>
            <pc:docMk/>
            <pc:sldMk cId="1200230370" sldId="778"/>
            <ac:spMk id="3" creationId="{6894512F-D73D-7547-C23F-D806C6066CE6}"/>
          </ac:spMkLst>
        </pc:spChg>
        <pc:spChg chg="mod ord">
          <ac:chgData name="Francisco Treviño" userId="abe7146e798f448e" providerId="LiveId" clId="{34BE4227-F304-426D-84C4-5A5A85A14773}" dt="2023-08-03T02:42:46.961" v="1698" actId="14100"/>
          <ac:spMkLst>
            <pc:docMk/>
            <pc:sldMk cId="1200230370" sldId="778"/>
            <ac:spMk id="4" creationId="{0062FF9D-ABEA-7F67-9898-9929E730C9E7}"/>
          </ac:spMkLst>
        </pc:spChg>
        <pc:spChg chg="mod ord">
          <ac:chgData name="Francisco Treviño" userId="abe7146e798f448e" providerId="LiveId" clId="{34BE4227-F304-426D-84C4-5A5A85A14773}" dt="2023-08-03T02:42:36.926" v="1684"/>
          <ac:spMkLst>
            <pc:docMk/>
            <pc:sldMk cId="1200230370" sldId="778"/>
            <ac:spMk id="5" creationId="{B3A1D89D-BDC4-9E00-401A-B3D38117685C}"/>
          </ac:spMkLst>
        </pc:spChg>
        <pc:spChg chg="add mod">
          <ac:chgData name="Francisco Treviño" userId="abe7146e798f448e" providerId="LiveId" clId="{34BE4227-F304-426D-84C4-5A5A85A14773}" dt="2023-08-03T02:43:22.988" v="1732" actId="1076"/>
          <ac:spMkLst>
            <pc:docMk/>
            <pc:sldMk cId="1200230370" sldId="778"/>
            <ac:spMk id="9" creationId="{AB5293CF-4E45-D96A-6847-A0C7198AEA78}"/>
          </ac:spMkLst>
        </pc:spChg>
        <pc:spChg chg="del mod ord">
          <ac:chgData name="Francisco Treviño" userId="abe7146e798f448e" providerId="LiveId" clId="{34BE4227-F304-426D-84C4-5A5A85A14773}" dt="2023-08-03T02:43:12.405" v="1725" actId="478"/>
          <ac:spMkLst>
            <pc:docMk/>
            <pc:sldMk cId="1200230370" sldId="778"/>
            <ac:spMk id="10" creationId="{8EFFE085-E2C9-8272-BF86-4B5FBEA35846}"/>
          </ac:spMkLst>
        </pc:spChg>
        <pc:spChg chg="del mod ord">
          <ac:chgData name="Francisco Treviño" userId="abe7146e798f448e" providerId="LiveId" clId="{34BE4227-F304-426D-84C4-5A5A85A14773}" dt="2023-08-03T02:42:39.248" v="1695" actId="478"/>
          <ac:spMkLst>
            <pc:docMk/>
            <pc:sldMk cId="1200230370" sldId="778"/>
            <ac:spMk id="11" creationId="{3A52B9E0-8D9A-CF04-BEA7-5276A9872A1B}"/>
          </ac:spMkLst>
        </pc:spChg>
        <pc:graphicFrameChg chg="mod">
          <ac:chgData name="Francisco Treviño" userId="abe7146e798f448e" providerId="LiveId" clId="{34BE4227-F304-426D-84C4-5A5A85A14773}" dt="2023-08-03T02:42:36.928" v="1694"/>
          <ac:graphicFrameMkLst>
            <pc:docMk/>
            <pc:sldMk cId="1200230370" sldId="778"/>
            <ac:graphicFrameMk id="6" creationId="{6340F78E-8A1D-407C-D535-79FCE988D987}"/>
          </ac:graphicFrameMkLst>
        </pc:graphicFrameChg>
        <pc:picChg chg="add mod ord">
          <ac:chgData name="Francisco Treviño" userId="abe7146e798f448e" providerId="LiveId" clId="{34BE4227-F304-426D-84C4-5A5A85A14773}" dt="2023-08-03T02:43:20.754" v="1731" actId="1076"/>
          <ac:picMkLst>
            <pc:docMk/>
            <pc:sldMk cId="1200230370" sldId="778"/>
            <ac:picMk id="8" creationId="{7EDBFC63-F023-668C-3D29-42ED0929F91F}"/>
          </ac:picMkLst>
        </pc:picChg>
        <pc:picChg chg="del">
          <ac:chgData name="Francisco Treviño" userId="abe7146e798f448e" providerId="LiveId" clId="{34BE4227-F304-426D-84C4-5A5A85A14773}" dt="2023-08-03T02:42:28.827" v="1673" actId="478"/>
          <ac:picMkLst>
            <pc:docMk/>
            <pc:sldMk cId="1200230370" sldId="778"/>
            <ac:picMk id="12" creationId="{73745825-A543-2B6E-DF68-07BF5E4B545B}"/>
          </ac:picMkLst>
        </pc:picChg>
      </pc:sldChg>
      <pc:sldChg chg="addSp delSp modSp add mod">
        <pc:chgData name="Francisco Treviño" userId="abe7146e798f448e" providerId="LiveId" clId="{34BE4227-F304-426D-84C4-5A5A85A14773}" dt="2023-08-03T02:44:27.322" v="1908" actId="20577"/>
        <pc:sldMkLst>
          <pc:docMk/>
          <pc:sldMk cId="767845805" sldId="779"/>
        </pc:sldMkLst>
        <pc:spChg chg="mod ord">
          <ac:chgData name="Francisco Treviño" userId="abe7146e798f448e" providerId="LiveId" clId="{34BE4227-F304-426D-84C4-5A5A85A14773}" dt="2023-08-03T02:44:04.657" v="1797"/>
          <ac:spMkLst>
            <pc:docMk/>
            <pc:sldMk cId="767845805" sldId="779"/>
            <ac:spMk id="2" creationId="{9A02571A-D1B6-8EB4-985A-7487325A2207}"/>
          </ac:spMkLst>
        </pc:spChg>
        <pc:spChg chg="mod ord">
          <ac:chgData name="Francisco Treviño" userId="abe7146e798f448e" providerId="LiveId" clId="{34BE4227-F304-426D-84C4-5A5A85A14773}" dt="2023-08-03T02:44:10.530" v="1809" actId="14100"/>
          <ac:spMkLst>
            <pc:docMk/>
            <pc:sldMk cId="767845805" sldId="779"/>
            <ac:spMk id="4" creationId="{0062FF9D-ABEA-7F67-9898-9929E730C9E7}"/>
          </ac:spMkLst>
        </pc:spChg>
        <pc:spChg chg="mod ord">
          <ac:chgData name="Francisco Treviño" userId="abe7146e798f448e" providerId="LiveId" clId="{34BE4227-F304-426D-84C4-5A5A85A14773}" dt="2023-08-03T02:44:04.657" v="1799"/>
          <ac:spMkLst>
            <pc:docMk/>
            <pc:sldMk cId="767845805" sldId="779"/>
            <ac:spMk id="5" creationId="{B3A1D89D-BDC4-9E00-401A-B3D38117685C}"/>
          </ac:spMkLst>
        </pc:spChg>
        <pc:spChg chg="mod ord">
          <ac:chgData name="Francisco Treviño" userId="abe7146e798f448e" providerId="LiveId" clId="{34BE4227-F304-426D-84C4-5A5A85A14773}" dt="2023-08-03T02:44:27.322" v="1908" actId="20577"/>
          <ac:spMkLst>
            <pc:docMk/>
            <pc:sldMk cId="767845805" sldId="779"/>
            <ac:spMk id="9" creationId="{AB5293CF-4E45-D96A-6847-A0C7198AEA78}"/>
          </ac:spMkLst>
        </pc:spChg>
        <pc:spChg chg="add del mod modVis">
          <ac:chgData name="Francisco Treviño" userId="abe7146e798f448e" providerId="LiveId" clId="{34BE4227-F304-426D-84C4-5A5A85A14773}" dt="2023-08-03T02:44:02.724" v="1790"/>
          <ac:spMkLst>
            <pc:docMk/>
            <pc:sldMk cId="767845805" sldId="779"/>
            <ac:spMk id="10" creationId="{2508F544-9249-EFE3-DA73-2426FDD739FB}"/>
          </ac:spMkLst>
        </pc:spChg>
        <pc:graphicFrameChg chg="mod">
          <ac:chgData name="Francisco Treviño" userId="abe7146e798f448e" providerId="LiveId" clId="{34BE4227-F304-426D-84C4-5A5A85A14773}" dt="2023-08-03T02:44:04.661" v="1807"/>
          <ac:graphicFrameMkLst>
            <pc:docMk/>
            <pc:sldMk cId="767845805" sldId="779"/>
            <ac:graphicFrameMk id="6" creationId="{6340F78E-8A1D-407C-D535-79FCE988D987}"/>
          </ac:graphicFrameMkLst>
        </pc:graphicFrameChg>
        <pc:picChg chg="add mod ord">
          <ac:chgData name="Francisco Treviño" userId="abe7146e798f448e" providerId="LiveId" clId="{34BE4227-F304-426D-84C4-5A5A85A14773}" dt="2023-08-03T02:44:04.657" v="1795"/>
          <ac:picMkLst>
            <pc:docMk/>
            <pc:sldMk cId="767845805" sldId="779"/>
            <ac:picMk id="7" creationId="{95988443-FA7D-2B9E-6713-F35DC39CF46A}"/>
          </ac:picMkLst>
        </pc:picChg>
        <pc:picChg chg="del">
          <ac:chgData name="Francisco Treviño" userId="abe7146e798f448e" providerId="LiveId" clId="{34BE4227-F304-426D-84C4-5A5A85A14773}" dt="2023-08-03T02:43:55.414" v="1734" actId="478"/>
          <ac:picMkLst>
            <pc:docMk/>
            <pc:sldMk cId="767845805" sldId="779"/>
            <ac:picMk id="8" creationId="{7EDBFC63-F023-668C-3D29-42ED0929F91F}"/>
          </ac:picMkLst>
        </pc:picChg>
      </pc:sldChg>
      <pc:sldChg chg="addSp delSp modSp add mod">
        <pc:chgData name="Francisco Treviño" userId="abe7146e798f448e" providerId="LiveId" clId="{34BE4227-F304-426D-84C4-5A5A85A14773}" dt="2023-08-03T02:45:19.963" v="2082" actId="14100"/>
        <pc:sldMkLst>
          <pc:docMk/>
          <pc:sldMk cId="3088202820" sldId="780"/>
        </pc:sldMkLst>
        <pc:spChg chg="mod ord">
          <ac:chgData name="Francisco Treviño" userId="abe7146e798f448e" providerId="LiveId" clId="{34BE4227-F304-426D-84C4-5A5A85A14773}" dt="2023-08-03T02:45:14.447" v="2068"/>
          <ac:spMkLst>
            <pc:docMk/>
            <pc:sldMk cId="3088202820" sldId="780"/>
            <ac:spMk id="2" creationId="{9A02571A-D1B6-8EB4-985A-7487325A2207}"/>
          </ac:spMkLst>
        </pc:spChg>
        <pc:spChg chg="mod ord">
          <ac:chgData name="Francisco Treviño" userId="abe7146e798f448e" providerId="LiveId" clId="{34BE4227-F304-426D-84C4-5A5A85A14773}" dt="2023-08-03T02:45:19.963" v="2082" actId="14100"/>
          <ac:spMkLst>
            <pc:docMk/>
            <pc:sldMk cId="3088202820" sldId="780"/>
            <ac:spMk id="4" creationId="{0062FF9D-ABEA-7F67-9898-9929E730C9E7}"/>
          </ac:spMkLst>
        </pc:spChg>
        <pc:spChg chg="mod ord">
          <ac:chgData name="Francisco Treviño" userId="abe7146e798f448e" providerId="LiveId" clId="{34BE4227-F304-426D-84C4-5A5A85A14773}" dt="2023-08-03T02:45:14.448" v="2070"/>
          <ac:spMkLst>
            <pc:docMk/>
            <pc:sldMk cId="3088202820" sldId="780"/>
            <ac:spMk id="5" creationId="{B3A1D89D-BDC4-9E00-401A-B3D38117685C}"/>
          </ac:spMkLst>
        </pc:spChg>
        <pc:spChg chg="mod ord">
          <ac:chgData name="Francisco Treviño" userId="abe7146e798f448e" providerId="LiveId" clId="{34BE4227-F304-426D-84C4-5A5A85A14773}" dt="2023-08-03T02:45:14.448" v="2074"/>
          <ac:spMkLst>
            <pc:docMk/>
            <pc:sldMk cId="3088202820" sldId="780"/>
            <ac:spMk id="9" creationId="{AB5293CF-4E45-D96A-6847-A0C7198AEA78}"/>
          </ac:spMkLst>
        </pc:spChg>
        <pc:spChg chg="add del mod modVis">
          <ac:chgData name="Francisco Treviño" userId="abe7146e798f448e" providerId="LiveId" clId="{34BE4227-F304-426D-84C4-5A5A85A14773}" dt="2023-08-03T02:45:14.449" v="2078"/>
          <ac:spMkLst>
            <pc:docMk/>
            <pc:sldMk cId="3088202820" sldId="780"/>
            <ac:spMk id="10" creationId="{7EDE782E-6886-CF12-8AC4-ADB047D67C9B}"/>
          </ac:spMkLst>
        </pc:spChg>
        <pc:graphicFrameChg chg="mod">
          <ac:chgData name="Francisco Treviño" userId="abe7146e798f448e" providerId="LiveId" clId="{34BE4227-F304-426D-84C4-5A5A85A14773}" dt="2023-08-03T02:45:14.451" v="2080"/>
          <ac:graphicFrameMkLst>
            <pc:docMk/>
            <pc:sldMk cId="3088202820" sldId="780"/>
            <ac:graphicFrameMk id="6" creationId="{6340F78E-8A1D-407C-D535-79FCE988D987}"/>
          </ac:graphicFrameMkLst>
        </pc:graphicFrameChg>
        <pc:picChg chg="del mod ord">
          <ac:chgData name="Francisco Treviño" userId="abe7146e798f448e" providerId="LiveId" clId="{34BE4227-F304-426D-84C4-5A5A85A14773}" dt="2023-08-03T02:45:16.021" v="2081" actId="478"/>
          <ac:picMkLst>
            <pc:docMk/>
            <pc:sldMk cId="3088202820" sldId="780"/>
            <ac:picMk id="7" creationId="{95988443-FA7D-2B9E-6713-F35DC39CF46A}"/>
          </ac:picMkLst>
        </pc:picChg>
        <pc:picChg chg="add mod ord">
          <ac:chgData name="Francisco Treviño" userId="abe7146e798f448e" providerId="LiveId" clId="{34BE4227-F304-426D-84C4-5A5A85A14773}" dt="2023-08-03T02:45:14.447" v="2064"/>
          <ac:picMkLst>
            <pc:docMk/>
            <pc:sldMk cId="3088202820" sldId="780"/>
            <ac:picMk id="8" creationId="{B5B36478-34AD-00BE-3606-9F47A83F6F3D}"/>
          </ac:picMkLst>
        </pc:picChg>
      </pc:sldChg>
      <pc:sldChg chg="addSp delSp modSp add mod">
        <pc:chgData name="Francisco Treviño" userId="abe7146e798f448e" providerId="LiveId" clId="{34BE4227-F304-426D-84C4-5A5A85A14773}" dt="2023-08-03T02:47:03.499" v="2338" actId="14100"/>
        <pc:sldMkLst>
          <pc:docMk/>
          <pc:sldMk cId="742127371" sldId="781"/>
        </pc:sldMkLst>
        <pc:spChg chg="mod ord">
          <ac:chgData name="Francisco Treviño" userId="abe7146e798f448e" providerId="LiveId" clId="{34BE4227-F304-426D-84C4-5A5A85A14773}" dt="2023-08-03T02:46:38.989" v="2316"/>
          <ac:spMkLst>
            <pc:docMk/>
            <pc:sldMk cId="742127371" sldId="781"/>
            <ac:spMk id="2" creationId="{9A02571A-D1B6-8EB4-985A-7487325A2207}"/>
          </ac:spMkLst>
        </pc:spChg>
        <pc:spChg chg="mod ord">
          <ac:chgData name="Francisco Treviño" userId="abe7146e798f448e" providerId="LiveId" clId="{34BE4227-F304-426D-84C4-5A5A85A14773}" dt="2023-08-03T02:46:48.841" v="2332" actId="1076"/>
          <ac:spMkLst>
            <pc:docMk/>
            <pc:sldMk cId="742127371" sldId="781"/>
            <ac:spMk id="4" creationId="{0062FF9D-ABEA-7F67-9898-9929E730C9E7}"/>
          </ac:spMkLst>
        </pc:spChg>
        <pc:spChg chg="mod ord">
          <ac:chgData name="Francisco Treviño" userId="abe7146e798f448e" providerId="LiveId" clId="{34BE4227-F304-426D-84C4-5A5A85A14773}" dt="2023-08-03T02:46:38.989" v="2318"/>
          <ac:spMkLst>
            <pc:docMk/>
            <pc:sldMk cId="742127371" sldId="781"/>
            <ac:spMk id="5" creationId="{B3A1D89D-BDC4-9E00-401A-B3D38117685C}"/>
          </ac:spMkLst>
        </pc:spChg>
        <pc:spChg chg="mod ord">
          <ac:chgData name="Francisco Treviño" userId="abe7146e798f448e" providerId="LiveId" clId="{34BE4227-F304-426D-84C4-5A5A85A14773}" dt="2023-08-03T02:46:51.050" v="2333" actId="1076"/>
          <ac:spMkLst>
            <pc:docMk/>
            <pc:sldMk cId="742127371" sldId="781"/>
            <ac:spMk id="9" creationId="{AB5293CF-4E45-D96A-6847-A0C7198AEA78}"/>
          </ac:spMkLst>
        </pc:spChg>
        <pc:spChg chg="add del mod modVis">
          <ac:chgData name="Francisco Treviño" userId="abe7146e798f448e" providerId="LiveId" clId="{34BE4227-F304-426D-84C4-5A5A85A14773}" dt="2023-08-03T02:46:38.991" v="2326"/>
          <ac:spMkLst>
            <pc:docMk/>
            <pc:sldMk cId="742127371" sldId="781"/>
            <ac:spMk id="10" creationId="{370F430B-2404-7B1B-056E-AEF64446B6EA}"/>
          </ac:spMkLst>
        </pc:spChg>
        <pc:spChg chg="add mod">
          <ac:chgData name="Francisco Treviño" userId="abe7146e798f448e" providerId="LiveId" clId="{34BE4227-F304-426D-84C4-5A5A85A14773}" dt="2023-08-03T02:47:03.499" v="2338" actId="14100"/>
          <ac:spMkLst>
            <pc:docMk/>
            <pc:sldMk cId="742127371" sldId="781"/>
            <ac:spMk id="11" creationId="{80F05DC7-3797-DA89-D0E4-74A8E436AE89}"/>
          </ac:spMkLst>
        </pc:spChg>
        <pc:graphicFrameChg chg="mod">
          <ac:chgData name="Francisco Treviño" userId="abe7146e798f448e" providerId="LiveId" clId="{34BE4227-F304-426D-84C4-5A5A85A14773}" dt="2023-08-03T02:46:38.992" v="2328"/>
          <ac:graphicFrameMkLst>
            <pc:docMk/>
            <pc:sldMk cId="742127371" sldId="781"/>
            <ac:graphicFrameMk id="6" creationId="{6340F78E-8A1D-407C-D535-79FCE988D987}"/>
          </ac:graphicFrameMkLst>
        </pc:graphicFrameChg>
        <pc:picChg chg="add mod ord">
          <ac:chgData name="Francisco Treviño" userId="abe7146e798f448e" providerId="LiveId" clId="{34BE4227-F304-426D-84C4-5A5A85A14773}" dt="2023-08-03T02:46:45.372" v="2331" actId="1076"/>
          <ac:picMkLst>
            <pc:docMk/>
            <pc:sldMk cId="742127371" sldId="781"/>
            <ac:picMk id="7" creationId="{4A2E97CB-BC86-D73C-7332-210005C463A8}"/>
          </ac:picMkLst>
        </pc:picChg>
        <pc:picChg chg="del">
          <ac:chgData name="Francisco Treviño" userId="abe7146e798f448e" providerId="LiveId" clId="{34BE4227-F304-426D-84C4-5A5A85A14773}" dt="2023-08-03T02:46:09.231" v="2270" actId="478"/>
          <ac:picMkLst>
            <pc:docMk/>
            <pc:sldMk cId="742127371" sldId="781"/>
            <ac:picMk id="8" creationId="{B5B36478-34AD-00BE-3606-9F47A83F6F3D}"/>
          </ac:picMkLst>
        </pc:picChg>
      </pc:sldChg>
      <pc:sldChg chg="addSp delSp modSp add mod">
        <pc:chgData name="Francisco Treviño" userId="abe7146e798f448e" providerId="LiveId" clId="{34BE4227-F304-426D-84C4-5A5A85A14773}" dt="2023-08-03T02:50:08.081" v="2745" actId="1036"/>
        <pc:sldMkLst>
          <pc:docMk/>
          <pc:sldMk cId="2055758492" sldId="782"/>
        </pc:sldMkLst>
        <pc:spChg chg="mod ord">
          <ac:chgData name="Francisco Treviño" userId="abe7146e798f448e" providerId="LiveId" clId="{34BE4227-F304-426D-84C4-5A5A85A14773}" dt="2023-08-03T02:48:28.743" v="2480"/>
          <ac:spMkLst>
            <pc:docMk/>
            <pc:sldMk cId="2055758492" sldId="782"/>
            <ac:spMk id="2" creationId="{9A02571A-D1B6-8EB4-985A-7487325A2207}"/>
          </ac:spMkLst>
        </pc:spChg>
        <pc:spChg chg="mod ord">
          <ac:chgData name="Francisco Treviño" userId="abe7146e798f448e" providerId="LiveId" clId="{34BE4227-F304-426D-84C4-5A5A85A14773}" dt="2023-08-03T02:48:28.743" v="2482"/>
          <ac:spMkLst>
            <pc:docMk/>
            <pc:sldMk cId="2055758492" sldId="782"/>
            <ac:spMk id="5" creationId="{B3A1D89D-BDC4-9E00-401A-B3D38117685C}"/>
          </ac:spMkLst>
        </pc:spChg>
        <pc:spChg chg="add del mod modVis">
          <ac:chgData name="Francisco Treviño" userId="abe7146e798f448e" providerId="LiveId" clId="{34BE4227-F304-426D-84C4-5A5A85A14773}" dt="2023-08-03T02:48:28.745" v="2492"/>
          <ac:spMkLst>
            <pc:docMk/>
            <pc:sldMk cId="2055758492" sldId="782"/>
            <ac:spMk id="7" creationId="{70294229-3F13-8828-D680-0BE7A37DA5C5}"/>
          </ac:spMkLst>
        </pc:spChg>
        <pc:spChg chg="mod ord">
          <ac:chgData name="Francisco Treviño" userId="abe7146e798f448e" providerId="LiveId" clId="{34BE4227-F304-426D-84C4-5A5A85A14773}" dt="2023-08-03T02:49:48.912" v="2738" actId="14100"/>
          <ac:spMkLst>
            <pc:docMk/>
            <pc:sldMk cId="2055758492" sldId="782"/>
            <ac:spMk id="12" creationId="{B98A3562-73B7-04C3-BFBD-2F03CDE2E4D9}"/>
          </ac:spMkLst>
        </pc:spChg>
        <pc:spChg chg="mod ord">
          <ac:chgData name="Francisco Treviño" userId="abe7146e798f448e" providerId="LiveId" clId="{34BE4227-F304-426D-84C4-5A5A85A14773}" dt="2023-08-03T02:50:08.081" v="2745" actId="1036"/>
          <ac:spMkLst>
            <pc:docMk/>
            <pc:sldMk cId="2055758492" sldId="782"/>
            <ac:spMk id="13" creationId="{3E2744D6-DE43-2C79-9F26-B6DBBE7F0FCA}"/>
          </ac:spMkLst>
        </pc:spChg>
        <pc:spChg chg="mod ord">
          <ac:chgData name="Francisco Treviño" userId="abe7146e798f448e" providerId="LiveId" clId="{34BE4227-F304-426D-84C4-5A5A85A14773}" dt="2023-08-03T02:49:40.965" v="2736" actId="1076"/>
          <ac:spMkLst>
            <pc:docMk/>
            <pc:sldMk cId="2055758492" sldId="782"/>
            <ac:spMk id="14" creationId="{08956B84-7844-5DA4-FB4C-8E619E3F96BE}"/>
          </ac:spMkLst>
        </pc:spChg>
        <pc:graphicFrameChg chg="mod">
          <ac:chgData name="Francisco Treviño" userId="abe7146e798f448e" providerId="LiveId" clId="{34BE4227-F304-426D-84C4-5A5A85A14773}" dt="2023-08-03T02:48:28.746" v="2494"/>
          <ac:graphicFrameMkLst>
            <pc:docMk/>
            <pc:sldMk cId="2055758492" sldId="782"/>
            <ac:graphicFrameMk id="6" creationId="{6340F78E-8A1D-407C-D535-79FCE988D987}"/>
          </ac:graphicFrameMkLst>
        </pc:graphicFrameChg>
        <pc:picChg chg="add mod ord">
          <ac:chgData name="Francisco Treviño" userId="abe7146e798f448e" providerId="LiveId" clId="{34BE4227-F304-426D-84C4-5A5A85A14773}" dt="2023-08-03T02:48:35.660" v="2496" actId="1076"/>
          <ac:picMkLst>
            <pc:docMk/>
            <pc:sldMk cId="2055758492" sldId="782"/>
            <ac:picMk id="4" creationId="{63179636-5383-29BB-7B8C-716470793266}"/>
          </ac:picMkLst>
        </pc:picChg>
        <pc:picChg chg="del mod ord">
          <ac:chgData name="Francisco Treviño" userId="abe7146e798f448e" providerId="LiveId" clId="{34BE4227-F304-426D-84C4-5A5A85A14773}" dt="2023-08-03T02:48:37.692" v="2497" actId="478"/>
          <ac:picMkLst>
            <pc:docMk/>
            <pc:sldMk cId="2055758492" sldId="782"/>
            <ac:picMk id="9" creationId="{6F51E5B6-26F5-583F-9518-4E51235E6D06}"/>
          </ac:picMkLst>
        </pc:picChg>
      </pc:sldChg>
      <pc:sldChg chg="addSp delSp modSp add mod">
        <pc:chgData name="Francisco Treviño" userId="abe7146e798f448e" providerId="LiveId" clId="{34BE4227-F304-426D-84C4-5A5A85A14773}" dt="2023-08-03T02:52:29.646" v="3127" actId="14100"/>
        <pc:sldMkLst>
          <pc:docMk/>
          <pc:sldMk cId="2142575205" sldId="783"/>
        </pc:sldMkLst>
        <pc:spChg chg="mod ord">
          <ac:chgData name="Francisco Treviño" userId="abe7146e798f448e" providerId="LiveId" clId="{34BE4227-F304-426D-84C4-5A5A85A14773}" dt="2023-08-03T02:51:04.706" v="2795"/>
          <ac:spMkLst>
            <pc:docMk/>
            <pc:sldMk cId="2142575205" sldId="783"/>
            <ac:spMk id="2" creationId="{9A02571A-D1B6-8EB4-985A-7487325A2207}"/>
          </ac:spMkLst>
        </pc:spChg>
        <pc:spChg chg="mod ord">
          <ac:chgData name="Francisco Treviño" userId="abe7146e798f448e" providerId="LiveId" clId="{34BE4227-F304-426D-84C4-5A5A85A14773}" dt="2023-08-03T02:51:04.706" v="2797"/>
          <ac:spMkLst>
            <pc:docMk/>
            <pc:sldMk cId="2142575205" sldId="783"/>
            <ac:spMk id="5" creationId="{B3A1D89D-BDC4-9E00-401A-B3D38117685C}"/>
          </ac:spMkLst>
        </pc:spChg>
        <pc:spChg chg="add del mod modVis">
          <ac:chgData name="Francisco Treviño" userId="abe7146e798f448e" providerId="LiveId" clId="{34BE4227-F304-426D-84C4-5A5A85A14773}" dt="2023-08-03T02:51:04.708" v="2807"/>
          <ac:spMkLst>
            <pc:docMk/>
            <pc:sldMk cId="2142575205" sldId="783"/>
            <ac:spMk id="8" creationId="{3634848A-F60D-77D6-A212-13975D4D6119}"/>
          </ac:spMkLst>
        </pc:spChg>
        <pc:spChg chg="mod ord">
          <ac:chgData name="Francisco Treviño" userId="abe7146e798f448e" providerId="LiveId" clId="{34BE4227-F304-426D-84C4-5A5A85A14773}" dt="2023-08-03T02:51:24.922" v="2817" actId="14100"/>
          <ac:spMkLst>
            <pc:docMk/>
            <pc:sldMk cId="2142575205" sldId="783"/>
            <ac:spMk id="12" creationId="{B98A3562-73B7-04C3-BFBD-2F03CDE2E4D9}"/>
          </ac:spMkLst>
        </pc:spChg>
        <pc:spChg chg="mod ord">
          <ac:chgData name="Francisco Treviño" userId="abe7146e798f448e" providerId="LiveId" clId="{34BE4227-F304-426D-84C4-5A5A85A14773}" dt="2023-08-03T02:51:16.097" v="2814" actId="14100"/>
          <ac:spMkLst>
            <pc:docMk/>
            <pc:sldMk cId="2142575205" sldId="783"/>
            <ac:spMk id="13" creationId="{3E2744D6-DE43-2C79-9F26-B6DBBE7F0FCA}"/>
          </ac:spMkLst>
        </pc:spChg>
        <pc:spChg chg="mod ord">
          <ac:chgData name="Francisco Treviño" userId="abe7146e798f448e" providerId="LiveId" clId="{34BE4227-F304-426D-84C4-5A5A85A14773}" dt="2023-08-03T02:52:29.646" v="3127" actId="14100"/>
          <ac:spMkLst>
            <pc:docMk/>
            <pc:sldMk cId="2142575205" sldId="783"/>
            <ac:spMk id="14" creationId="{08956B84-7844-5DA4-FB4C-8E619E3F96BE}"/>
          </ac:spMkLst>
        </pc:spChg>
        <pc:graphicFrameChg chg="mod">
          <ac:chgData name="Francisco Treviño" userId="abe7146e798f448e" providerId="LiveId" clId="{34BE4227-F304-426D-84C4-5A5A85A14773}" dt="2023-08-03T02:51:04.709" v="2809"/>
          <ac:graphicFrameMkLst>
            <pc:docMk/>
            <pc:sldMk cId="2142575205" sldId="783"/>
            <ac:graphicFrameMk id="6" creationId="{6340F78E-8A1D-407C-D535-79FCE988D987}"/>
          </ac:graphicFrameMkLst>
        </pc:graphicFrameChg>
        <pc:picChg chg="del mod ord">
          <ac:chgData name="Francisco Treviño" userId="abe7146e798f448e" providerId="LiveId" clId="{34BE4227-F304-426D-84C4-5A5A85A14773}" dt="2023-08-03T02:51:06.274" v="2810" actId="478"/>
          <ac:picMkLst>
            <pc:docMk/>
            <pc:sldMk cId="2142575205" sldId="783"/>
            <ac:picMk id="4" creationId="{63179636-5383-29BB-7B8C-716470793266}"/>
          </ac:picMkLst>
        </pc:picChg>
        <pc:picChg chg="add mod ord">
          <ac:chgData name="Francisco Treviño" userId="abe7146e798f448e" providerId="LiveId" clId="{34BE4227-F304-426D-84C4-5A5A85A14773}" dt="2023-08-03T02:51:04.705" v="2791"/>
          <ac:picMkLst>
            <pc:docMk/>
            <pc:sldMk cId="2142575205" sldId="783"/>
            <ac:picMk id="7" creationId="{00A67C02-8A4A-C3F8-4C19-E38B227EC3AC}"/>
          </ac:picMkLst>
        </pc:picChg>
      </pc:sldChg>
      <pc:sldChg chg="addSp delSp modSp add mod">
        <pc:chgData name="Francisco Treviño" userId="abe7146e798f448e" providerId="LiveId" clId="{34BE4227-F304-426D-84C4-5A5A85A14773}" dt="2023-08-03T02:54:16.422" v="3442" actId="1076"/>
        <pc:sldMkLst>
          <pc:docMk/>
          <pc:sldMk cId="1305688076" sldId="784"/>
        </pc:sldMkLst>
        <pc:spChg chg="mod ord">
          <ac:chgData name="Francisco Treviño" userId="abe7146e798f448e" providerId="LiveId" clId="{34BE4227-F304-426D-84C4-5A5A85A14773}" dt="2023-08-03T02:53:10.783" v="3176"/>
          <ac:spMkLst>
            <pc:docMk/>
            <pc:sldMk cId="1305688076" sldId="784"/>
            <ac:spMk id="2" creationId="{9A02571A-D1B6-8EB4-985A-7487325A2207}"/>
          </ac:spMkLst>
        </pc:spChg>
        <pc:spChg chg="mod ord">
          <ac:chgData name="Francisco Treviño" userId="abe7146e798f448e" providerId="LiveId" clId="{34BE4227-F304-426D-84C4-5A5A85A14773}" dt="2023-08-03T02:53:10.783" v="3178"/>
          <ac:spMkLst>
            <pc:docMk/>
            <pc:sldMk cId="1305688076" sldId="784"/>
            <ac:spMk id="5" creationId="{B3A1D89D-BDC4-9E00-401A-B3D38117685C}"/>
          </ac:spMkLst>
        </pc:spChg>
        <pc:spChg chg="add del mod modVis">
          <ac:chgData name="Francisco Treviño" userId="abe7146e798f448e" providerId="LiveId" clId="{34BE4227-F304-426D-84C4-5A5A85A14773}" dt="2023-08-03T02:53:10.785" v="3188"/>
          <ac:spMkLst>
            <pc:docMk/>
            <pc:sldMk cId="1305688076" sldId="784"/>
            <ac:spMk id="8" creationId="{CD701250-45E5-4E8E-C620-9BF57A871CB9}"/>
          </ac:spMkLst>
        </pc:spChg>
        <pc:spChg chg="del mod ord">
          <ac:chgData name="Francisco Treviño" userId="abe7146e798f448e" providerId="LiveId" clId="{34BE4227-F304-426D-84C4-5A5A85A14773}" dt="2023-08-03T02:53:20.717" v="3195" actId="478"/>
          <ac:spMkLst>
            <pc:docMk/>
            <pc:sldMk cId="1305688076" sldId="784"/>
            <ac:spMk id="12" creationId="{B98A3562-73B7-04C3-BFBD-2F03CDE2E4D9}"/>
          </ac:spMkLst>
        </pc:spChg>
        <pc:spChg chg="mod ord">
          <ac:chgData name="Francisco Treviño" userId="abe7146e798f448e" providerId="LiveId" clId="{34BE4227-F304-426D-84C4-5A5A85A14773}" dt="2023-08-03T02:53:18.916" v="3194" actId="14100"/>
          <ac:spMkLst>
            <pc:docMk/>
            <pc:sldMk cId="1305688076" sldId="784"/>
            <ac:spMk id="13" creationId="{3E2744D6-DE43-2C79-9F26-B6DBBE7F0FCA}"/>
          </ac:spMkLst>
        </pc:spChg>
        <pc:spChg chg="mod ord">
          <ac:chgData name="Francisco Treviño" userId="abe7146e798f448e" providerId="LiveId" clId="{34BE4227-F304-426D-84C4-5A5A85A14773}" dt="2023-08-03T02:54:16.422" v="3442" actId="1076"/>
          <ac:spMkLst>
            <pc:docMk/>
            <pc:sldMk cId="1305688076" sldId="784"/>
            <ac:spMk id="14" creationId="{08956B84-7844-5DA4-FB4C-8E619E3F96BE}"/>
          </ac:spMkLst>
        </pc:spChg>
        <pc:graphicFrameChg chg="mod">
          <ac:chgData name="Francisco Treviño" userId="abe7146e798f448e" providerId="LiveId" clId="{34BE4227-F304-426D-84C4-5A5A85A14773}" dt="2023-08-03T02:53:10.787" v="3190"/>
          <ac:graphicFrameMkLst>
            <pc:docMk/>
            <pc:sldMk cId="1305688076" sldId="784"/>
            <ac:graphicFrameMk id="6" creationId="{6340F78E-8A1D-407C-D535-79FCE988D987}"/>
          </ac:graphicFrameMkLst>
        </pc:graphicFrameChg>
        <pc:picChg chg="add mod ord">
          <ac:chgData name="Francisco Treviño" userId="abe7146e798f448e" providerId="LiveId" clId="{34BE4227-F304-426D-84C4-5A5A85A14773}" dt="2023-08-03T02:53:12.121" v="3191" actId="1076"/>
          <ac:picMkLst>
            <pc:docMk/>
            <pc:sldMk cId="1305688076" sldId="784"/>
            <ac:picMk id="4" creationId="{8DC8AC76-EC57-DC90-057F-AFB761854010}"/>
          </ac:picMkLst>
        </pc:picChg>
        <pc:picChg chg="del">
          <ac:chgData name="Francisco Treviño" userId="abe7146e798f448e" providerId="LiveId" clId="{34BE4227-F304-426D-84C4-5A5A85A14773}" dt="2023-08-03T02:53:02.065" v="3130" actId="478"/>
          <ac:picMkLst>
            <pc:docMk/>
            <pc:sldMk cId="1305688076" sldId="784"/>
            <ac:picMk id="7" creationId="{00A67C02-8A4A-C3F8-4C19-E38B227EC3AC}"/>
          </ac:picMkLst>
        </pc:picChg>
      </pc:sldChg>
      <pc:sldChg chg="addSp delSp modSp add mod">
        <pc:chgData name="Francisco Treviño" userId="abe7146e798f448e" providerId="LiveId" clId="{34BE4227-F304-426D-84C4-5A5A85A14773}" dt="2023-08-03T02:55:32.672" v="3673" actId="20577"/>
        <pc:sldMkLst>
          <pc:docMk/>
          <pc:sldMk cId="215482728" sldId="785"/>
        </pc:sldMkLst>
        <pc:spChg chg="mod ord">
          <ac:chgData name="Francisco Treviño" userId="abe7146e798f448e" providerId="LiveId" clId="{34BE4227-F304-426D-84C4-5A5A85A14773}" dt="2023-08-03T02:54:54.732" v="3491"/>
          <ac:spMkLst>
            <pc:docMk/>
            <pc:sldMk cId="215482728" sldId="785"/>
            <ac:spMk id="2" creationId="{9A02571A-D1B6-8EB4-985A-7487325A2207}"/>
          </ac:spMkLst>
        </pc:spChg>
        <pc:spChg chg="mod ord">
          <ac:chgData name="Francisco Treviño" userId="abe7146e798f448e" providerId="LiveId" clId="{34BE4227-F304-426D-84C4-5A5A85A14773}" dt="2023-08-03T02:54:54.732" v="3493"/>
          <ac:spMkLst>
            <pc:docMk/>
            <pc:sldMk cId="215482728" sldId="785"/>
            <ac:spMk id="5" creationId="{B3A1D89D-BDC4-9E00-401A-B3D38117685C}"/>
          </ac:spMkLst>
        </pc:spChg>
        <pc:spChg chg="add del mod modVis">
          <ac:chgData name="Francisco Treviño" userId="abe7146e798f448e" providerId="LiveId" clId="{34BE4227-F304-426D-84C4-5A5A85A14773}" dt="2023-08-03T02:54:54.735" v="3501"/>
          <ac:spMkLst>
            <pc:docMk/>
            <pc:sldMk cId="215482728" sldId="785"/>
            <ac:spMk id="8" creationId="{D2717F99-A65D-7C8E-008B-3BDA181F56EA}"/>
          </ac:spMkLst>
        </pc:spChg>
        <pc:spChg chg="mod ord">
          <ac:chgData name="Francisco Treviño" userId="abe7146e798f448e" providerId="LiveId" clId="{34BE4227-F304-426D-84C4-5A5A85A14773}" dt="2023-08-03T02:55:01.282" v="3505" actId="14100"/>
          <ac:spMkLst>
            <pc:docMk/>
            <pc:sldMk cId="215482728" sldId="785"/>
            <ac:spMk id="13" creationId="{3E2744D6-DE43-2C79-9F26-B6DBBE7F0FCA}"/>
          </ac:spMkLst>
        </pc:spChg>
        <pc:spChg chg="mod ord">
          <ac:chgData name="Francisco Treviño" userId="abe7146e798f448e" providerId="LiveId" clId="{34BE4227-F304-426D-84C4-5A5A85A14773}" dt="2023-08-03T02:55:32.672" v="3673" actId="20577"/>
          <ac:spMkLst>
            <pc:docMk/>
            <pc:sldMk cId="215482728" sldId="785"/>
            <ac:spMk id="14" creationId="{08956B84-7844-5DA4-FB4C-8E619E3F96BE}"/>
          </ac:spMkLst>
        </pc:spChg>
        <pc:graphicFrameChg chg="mod">
          <ac:chgData name="Francisco Treviño" userId="abe7146e798f448e" providerId="LiveId" clId="{34BE4227-F304-426D-84C4-5A5A85A14773}" dt="2023-08-03T02:54:54.736" v="3503"/>
          <ac:graphicFrameMkLst>
            <pc:docMk/>
            <pc:sldMk cId="215482728" sldId="785"/>
            <ac:graphicFrameMk id="6" creationId="{6340F78E-8A1D-407C-D535-79FCE988D987}"/>
          </ac:graphicFrameMkLst>
        </pc:graphicFrameChg>
        <pc:picChg chg="del">
          <ac:chgData name="Francisco Treviño" userId="abe7146e798f448e" providerId="LiveId" clId="{34BE4227-F304-426D-84C4-5A5A85A14773}" dt="2023-08-03T02:54:49.075" v="3445" actId="478"/>
          <ac:picMkLst>
            <pc:docMk/>
            <pc:sldMk cId="215482728" sldId="785"/>
            <ac:picMk id="4" creationId="{8DC8AC76-EC57-DC90-057F-AFB761854010}"/>
          </ac:picMkLst>
        </pc:picChg>
        <pc:picChg chg="add mod ord">
          <ac:chgData name="Francisco Treviño" userId="abe7146e798f448e" providerId="LiveId" clId="{34BE4227-F304-426D-84C4-5A5A85A14773}" dt="2023-08-03T02:54:54.732" v="3489"/>
          <ac:picMkLst>
            <pc:docMk/>
            <pc:sldMk cId="215482728" sldId="785"/>
            <ac:picMk id="7" creationId="{1734C6AE-1941-CD79-7D25-F3FAE1365CF1}"/>
          </ac:picMkLst>
        </pc:picChg>
      </pc:sldChg>
      <pc:sldChg chg="addSp delSp modSp add mod ord">
        <pc:chgData name="Francisco Treviño" userId="abe7146e798f448e" providerId="LiveId" clId="{34BE4227-F304-426D-84C4-5A5A85A14773}" dt="2023-08-03T02:56:22.319" v="3845" actId="1076"/>
        <pc:sldMkLst>
          <pc:docMk/>
          <pc:sldMk cId="1904743197" sldId="786"/>
        </pc:sldMkLst>
        <pc:spChg chg="mod ord">
          <ac:chgData name="Francisco Treviño" userId="abe7146e798f448e" providerId="LiveId" clId="{34BE4227-F304-426D-84C4-5A5A85A14773}" dt="2023-08-03T02:56:19.063" v="3833"/>
          <ac:spMkLst>
            <pc:docMk/>
            <pc:sldMk cId="1904743197" sldId="786"/>
            <ac:spMk id="2" creationId="{9A02571A-D1B6-8EB4-985A-7487325A2207}"/>
          </ac:spMkLst>
        </pc:spChg>
        <pc:spChg chg="mod ord">
          <ac:chgData name="Francisco Treviño" userId="abe7146e798f448e" providerId="LiveId" clId="{34BE4227-F304-426D-84C4-5A5A85A14773}" dt="2023-08-03T02:56:19.063" v="3835"/>
          <ac:spMkLst>
            <pc:docMk/>
            <pc:sldMk cId="1904743197" sldId="786"/>
            <ac:spMk id="5" creationId="{B3A1D89D-BDC4-9E00-401A-B3D38117685C}"/>
          </ac:spMkLst>
        </pc:spChg>
        <pc:spChg chg="add del mod modVis">
          <ac:chgData name="Francisco Treviño" userId="abe7146e798f448e" providerId="LiveId" clId="{34BE4227-F304-426D-84C4-5A5A85A14773}" dt="2023-08-03T02:56:19.065" v="3841"/>
          <ac:spMkLst>
            <pc:docMk/>
            <pc:sldMk cId="1904743197" sldId="786"/>
            <ac:spMk id="8" creationId="{80214997-0A21-EAD4-D419-C107345F5BD9}"/>
          </ac:spMkLst>
        </pc:spChg>
        <pc:spChg chg="del">
          <ac:chgData name="Francisco Treviño" userId="abe7146e798f448e" providerId="LiveId" clId="{34BE4227-F304-426D-84C4-5A5A85A14773}" dt="2023-08-03T02:55:42.412" v="3678" actId="478"/>
          <ac:spMkLst>
            <pc:docMk/>
            <pc:sldMk cId="1904743197" sldId="786"/>
            <ac:spMk id="13" creationId="{3E2744D6-DE43-2C79-9F26-B6DBBE7F0FCA}"/>
          </ac:spMkLst>
        </pc:spChg>
        <pc:spChg chg="mod ord">
          <ac:chgData name="Francisco Treviño" userId="abe7146e798f448e" providerId="LiveId" clId="{34BE4227-F304-426D-84C4-5A5A85A14773}" dt="2023-08-03T02:56:19.064" v="3837"/>
          <ac:spMkLst>
            <pc:docMk/>
            <pc:sldMk cId="1904743197" sldId="786"/>
            <ac:spMk id="14" creationId="{08956B84-7844-5DA4-FB4C-8E619E3F96BE}"/>
          </ac:spMkLst>
        </pc:spChg>
        <pc:graphicFrameChg chg="mod">
          <ac:chgData name="Francisco Treviño" userId="abe7146e798f448e" providerId="LiveId" clId="{34BE4227-F304-426D-84C4-5A5A85A14773}" dt="2023-08-03T02:56:19.066" v="3843"/>
          <ac:graphicFrameMkLst>
            <pc:docMk/>
            <pc:sldMk cId="1904743197" sldId="786"/>
            <ac:graphicFrameMk id="6" creationId="{6340F78E-8A1D-407C-D535-79FCE988D987}"/>
          </ac:graphicFrameMkLst>
        </pc:graphicFrameChg>
        <pc:picChg chg="add mod ord">
          <ac:chgData name="Francisco Treviño" userId="abe7146e798f448e" providerId="LiveId" clId="{34BE4227-F304-426D-84C4-5A5A85A14773}" dt="2023-08-03T02:56:22.319" v="3845" actId="1076"/>
          <ac:picMkLst>
            <pc:docMk/>
            <pc:sldMk cId="1904743197" sldId="786"/>
            <ac:picMk id="4" creationId="{0999F270-5EAF-C53D-1F9C-94B8B2DE5D37}"/>
          </ac:picMkLst>
        </pc:picChg>
        <pc:picChg chg="del">
          <ac:chgData name="Francisco Treviño" userId="abe7146e798f448e" providerId="LiveId" clId="{34BE4227-F304-426D-84C4-5A5A85A14773}" dt="2023-08-03T02:55:41.285" v="3677" actId="478"/>
          <ac:picMkLst>
            <pc:docMk/>
            <pc:sldMk cId="1904743197" sldId="786"/>
            <ac:picMk id="7" creationId="{1734C6AE-1941-CD79-7D25-F3FAE1365CF1}"/>
          </ac:picMkLst>
        </pc:picChg>
      </pc:sldChg>
      <pc:sldChg chg="addSp delSp modSp add mod ord">
        <pc:chgData name="Francisco Treviño" userId="abe7146e798f448e" providerId="LiveId" clId="{34BE4227-F304-426D-84C4-5A5A85A14773}" dt="2023-08-03T02:57:12.089" v="3962" actId="1076"/>
        <pc:sldMkLst>
          <pc:docMk/>
          <pc:sldMk cId="1754582185" sldId="787"/>
        </pc:sldMkLst>
        <pc:spChg chg="mod ord">
          <ac:chgData name="Francisco Treviño" userId="abe7146e798f448e" providerId="LiveId" clId="{34BE4227-F304-426D-84C4-5A5A85A14773}" dt="2023-08-03T02:56:58.345" v="3944"/>
          <ac:spMkLst>
            <pc:docMk/>
            <pc:sldMk cId="1754582185" sldId="787"/>
            <ac:spMk id="2" creationId="{9A02571A-D1B6-8EB4-985A-7487325A2207}"/>
          </ac:spMkLst>
        </pc:spChg>
        <pc:spChg chg="mod ord">
          <ac:chgData name="Francisco Treviño" userId="abe7146e798f448e" providerId="LiveId" clId="{34BE4227-F304-426D-84C4-5A5A85A14773}" dt="2023-08-03T02:56:58.345" v="3946"/>
          <ac:spMkLst>
            <pc:docMk/>
            <pc:sldMk cId="1754582185" sldId="787"/>
            <ac:spMk id="5" creationId="{B3A1D89D-BDC4-9E00-401A-B3D38117685C}"/>
          </ac:spMkLst>
        </pc:spChg>
        <pc:spChg chg="add del mod modVis">
          <ac:chgData name="Francisco Treviño" userId="abe7146e798f448e" providerId="LiveId" clId="{34BE4227-F304-426D-84C4-5A5A85A14773}" dt="2023-08-03T02:56:58.347" v="3954"/>
          <ac:spMkLst>
            <pc:docMk/>
            <pc:sldMk cId="1754582185" sldId="787"/>
            <ac:spMk id="8" creationId="{F4975643-4960-F212-8891-90D68789F121}"/>
          </ac:spMkLst>
        </pc:spChg>
        <pc:spChg chg="mod ord">
          <ac:chgData name="Francisco Treviño" userId="abe7146e798f448e" providerId="LiveId" clId="{34BE4227-F304-426D-84C4-5A5A85A14773}" dt="2023-08-03T02:57:07.827" v="3960" actId="14100"/>
          <ac:spMkLst>
            <pc:docMk/>
            <pc:sldMk cId="1754582185" sldId="787"/>
            <ac:spMk id="13" creationId="{3E2744D6-DE43-2C79-9F26-B6DBBE7F0FCA}"/>
          </ac:spMkLst>
        </pc:spChg>
        <pc:spChg chg="mod ord">
          <ac:chgData name="Francisco Treviño" userId="abe7146e798f448e" providerId="LiveId" clId="{34BE4227-F304-426D-84C4-5A5A85A14773}" dt="2023-08-03T02:57:12.089" v="3962" actId="1076"/>
          <ac:spMkLst>
            <pc:docMk/>
            <pc:sldMk cId="1754582185" sldId="787"/>
            <ac:spMk id="14" creationId="{08956B84-7844-5DA4-FB4C-8E619E3F96BE}"/>
          </ac:spMkLst>
        </pc:spChg>
        <pc:graphicFrameChg chg="mod">
          <ac:chgData name="Francisco Treviño" userId="abe7146e798f448e" providerId="LiveId" clId="{34BE4227-F304-426D-84C4-5A5A85A14773}" dt="2023-08-03T02:56:58.348" v="3956"/>
          <ac:graphicFrameMkLst>
            <pc:docMk/>
            <pc:sldMk cId="1754582185" sldId="787"/>
            <ac:graphicFrameMk id="6" creationId="{6340F78E-8A1D-407C-D535-79FCE988D987}"/>
          </ac:graphicFrameMkLst>
        </pc:graphicFrameChg>
        <pc:picChg chg="del">
          <ac:chgData name="Francisco Treviño" userId="abe7146e798f448e" providerId="LiveId" clId="{34BE4227-F304-426D-84C4-5A5A85A14773}" dt="2023-08-03T02:56:32.783" v="3849" actId="478"/>
          <ac:picMkLst>
            <pc:docMk/>
            <pc:sldMk cId="1754582185" sldId="787"/>
            <ac:picMk id="4" creationId="{8DC8AC76-EC57-DC90-057F-AFB761854010}"/>
          </ac:picMkLst>
        </pc:picChg>
        <pc:picChg chg="add mod ord">
          <ac:chgData name="Francisco Treviño" userId="abe7146e798f448e" providerId="LiveId" clId="{34BE4227-F304-426D-84C4-5A5A85A14773}" dt="2023-08-03T02:57:02.154" v="3958" actId="1076"/>
          <ac:picMkLst>
            <pc:docMk/>
            <pc:sldMk cId="1754582185" sldId="787"/>
            <ac:picMk id="7" creationId="{F1B8ADF1-E891-2FED-F307-8B46CAFBD035}"/>
          </ac:picMkLst>
        </pc:picChg>
      </pc:sldChg>
      <pc:sldChg chg="addSp delSp modSp add mod">
        <pc:chgData name="Francisco Treviño" userId="abe7146e798f448e" providerId="LiveId" clId="{34BE4227-F304-426D-84C4-5A5A85A14773}" dt="2023-08-03T02:58:02.495" v="4084" actId="20577"/>
        <pc:sldMkLst>
          <pc:docMk/>
          <pc:sldMk cId="269784359" sldId="788"/>
        </pc:sldMkLst>
        <pc:spChg chg="mod ord">
          <ac:chgData name="Francisco Treviño" userId="abe7146e798f448e" providerId="LiveId" clId="{34BE4227-F304-426D-84C4-5A5A85A14773}" dt="2023-08-03T02:57:42.977" v="4010"/>
          <ac:spMkLst>
            <pc:docMk/>
            <pc:sldMk cId="269784359" sldId="788"/>
            <ac:spMk id="2" creationId="{9A02571A-D1B6-8EB4-985A-7487325A2207}"/>
          </ac:spMkLst>
        </pc:spChg>
        <pc:spChg chg="mod ord">
          <ac:chgData name="Francisco Treviño" userId="abe7146e798f448e" providerId="LiveId" clId="{34BE4227-F304-426D-84C4-5A5A85A14773}" dt="2023-08-03T02:57:42.978" v="4012"/>
          <ac:spMkLst>
            <pc:docMk/>
            <pc:sldMk cId="269784359" sldId="788"/>
            <ac:spMk id="5" creationId="{B3A1D89D-BDC4-9E00-401A-B3D38117685C}"/>
          </ac:spMkLst>
        </pc:spChg>
        <pc:spChg chg="add del mod modVis">
          <ac:chgData name="Francisco Treviño" userId="abe7146e798f448e" providerId="LiveId" clId="{34BE4227-F304-426D-84C4-5A5A85A14773}" dt="2023-08-03T02:57:42.979" v="4020"/>
          <ac:spMkLst>
            <pc:docMk/>
            <pc:sldMk cId="269784359" sldId="788"/>
            <ac:spMk id="8" creationId="{D1BEFE47-C5EE-A0D4-3C2B-25C3CD671E49}"/>
          </ac:spMkLst>
        </pc:spChg>
        <pc:spChg chg="mod ord">
          <ac:chgData name="Francisco Treviño" userId="abe7146e798f448e" providerId="LiveId" clId="{34BE4227-F304-426D-84C4-5A5A85A14773}" dt="2023-08-03T02:57:50.395" v="4024" actId="14100"/>
          <ac:spMkLst>
            <pc:docMk/>
            <pc:sldMk cId="269784359" sldId="788"/>
            <ac:spMk id="13" creationId="{3E2744D6-DE43-2C79-9F26-B6DBBE7F0FCA}"/>
          </ac:spMkLst>
        </pc:spChg>
        <pc:spChg chg="mod ord">
          <ac:chgData name="Francisco Treviño" userId="abe7146e798f448e" providerId="LiveId" clId="{34BE4227-F304-426D-84C4-5A5A85A14773}" dt="2023-08-03T02:58:02.495" v="4084" actId="20577"/>
          <ac:spMkLst>
            <pc:docMk/>
            <pc:sldMk cId="269784359" sldId="788"/>
            <ac:spMk id="14" creationId="{08956B84-7844-5DA4-FB4C-8E619E3F96BE}"/>
          </ac:spMkLst>
        </pc:spChg>
        <pc:graphicFrameChg chg="mod">
          <ac:chgData name="Francisco Treviño" userId="abe7146e798f448e" providerId="LiveId" clId="{34BE4227-F304-426D-84C4-5A5A85A14773}" dt="2023-08-03T02:57:42.981" v="4022"/>
          <ac:graphicFrameMkLst>
            <pc:docMk/>
            <pc:sldMk cId="269784359" sldId="788"/>
            <ac:graphicFrameMk id="6" creationId="{6340F78E-8A1D-407C-D535-79FCE988D987}"/>
          </ac:graphicFrameMkLst>
        </pc:graphicFrameChg>
        <pc:picChg chg="add mod ord">
          <ac:chgData name="Francisco Treviño" userId="abe7146e798f448e" providerId="LiveId" clId="{34BE4227-F304-426D-84C4-5A5A85A14773}" dt="2023-08-03T02:57:42.977" v="4008"/>
          <ac:picMkLst>
            <pc:docMk/>
            <pc:sldMk cId="269784359" sldId="788"/>
            <ac:picMk id="4" creationId="{5FB9D449-447C-7103-DF86-A17E5974F8DD}"/>
          </ac:picMkLst>
        </pc:picChg>
        <pc:picChg chg="del">
          <ac:chgData name="Francisco Treviño" userId="abe7146e798f448e" providerId="LiveId" clId="{34BE4227-F304-426D-84C4-5A5A85A14773}" dt="2023-08-03T02:57:37.842" v="3964" actId="478"/>
          <ac:picMkLst>
            <pc:docMk/>
            <pc:sldMk cId="269784359" sldId="788"/>
            <ac:picMk id="7" creationId="{F1B8ADF1-E891-2FED-F307-8B46CAFBD035}"/>
          </ac:picMkLst>
        </pc:picChg>
      </pc:sldChg>
      <pc:sldChg chg="addSp delSp modSp add mod">
        <pc:chgData name="Francisco Treviño" userId="abe7146e798f448e" providerId="LiveId" clId="{34BE4227-F304-426D-84C4-5A5A85A14773}" dt="2023-08-03T03:00:27.104" v="4481" actId="20577"/>
        <pc:sldMkLst>
          <pc:docMk/>
          <pc:sldMk cId="270983175" sldId="789"/>
        </pc:sldMkLst>
        <pc:spChg chg="mod ord">
          <ac:chgData name="Francisco Treviño" userId="abe7146e798f448e" providerId="LiveId" clId="{34BE4227-F304-426D-84C4-5A5A85A14773}" dt="2023-08-03T02:58:42.440" v="4154"/>
          <ac:spMkLst>
            <pc:docMk/>
            <pc:sldMk cId="270983175" sldId="789"/>
            <ac:spMk id="2" creationId="{9A02571A-D1B6-8EB4-985A-7487325A2207}"/>
          </ac:spMkLst>
        </pc:spChg>
        <pc:spChg chg="mod ord">
          <ac:chgData name="Francisco Treviño" userId="abe7146e798f448e" providerId="LiveId" clId="{34BE4227-F304-426D-84C4-5A5A85A14773}" dt="2023-08-03T02:58:42.440" v="4156"/>
          <ac:spMkLst>
            <pc:docMk/>
            <pc:sldMk cId="270983175" sldId="789"/>
            <ac:spMk id="5" creationId="{B3A1D89D-BDC4-9E00-401A-B3D38117685C}"/>
          </ac:spMkLst>
        </pc:spChg>
        <pc:spChg chg="add del mod modVis">
          <ac:chgData name="Francisco Treviño" userId="abe7146e798f448e" providerId="LiveId" clId="{34BE4227-F304-426D-84C4-5A5A85A14773}" dt="2023-08-03T02:58:25.494" v="4140"/>
          <ac:spMkLst>
            <pc:docMk/>
            <pc:sldMk cId="270983175" sldId="789"/>
            <ac:spMk id="8" creationId="{F69D49C6-2C6F-48F1-2F6F-36E3DF567C87}"/>
          </ac:spMkLst>
        </pc:spChg>
        <pc:spChg chg="add mod ord">
          <ac:chgData name="Francisco Treviño" userId="abe7146e798f448e" providerId="LiveId" clId="{34BE4227-F304-426D-84C4-5A5A85A14773}" dt="2023-08-03T02:58:42.440" v="4160"/>
          <ac:spMkLst>
            <pc:docMk/>
            <pc:sldMk cId="270983175" sldId="789"/>
            <ac:spMk id="9" creationId="{2F3C5488-34F8-AF90-3E26-4ADE02830BDD}"/>
          </ac:spMkLst>
        </pc:spChg>
        <pc:spChg chg="mod ord">
          <ac:chgData name="Francisco Treviño" userId="abe7146e798f448e" providerId="LiveId" clId="{34BE4227-F304-426D-84C4-5A5A85A14773}" dt="2023-08-03T02:58:42.440" v="4158"/>
          <ac:spMkLst>
            <pc:docMk/>
            <pc:sldMk cId="270983175" sldId="789"/>
            <ac:spMk id="13" creationId="{3E2744D6-DE43-2C79-9F26-B6DBBE7F0FCA}"/>
          </ac:spMkLst>
        </pc:spChg>
        <pc:spChg chg="mod ord">
          <ac:chgData name="Francisco Treviño" userId="abe7146e798f448e" providerId="LiveId" clId="{34BE4227-F304-426D-84C4-5A5A85A14773}" dt="2023-08-03T03:00:27.104" v="4481" actId="20577"/>
          <ac:spMkLst>
            <pc:docMk/>
            <pc:sldMk cId="270983175" sldId="789"/>
            <ac:spMk id="14" creationId="{08956B84-7844-5DA4-FB4C-8E619E3F96BE}"/>
          </ac:spMkLst>
        </pc:spChg>
        <pc:graphicFrameChg chg="mod">
          <ac:chgData name="Francisco Treviño" userId="abe7146e798f448e" providerId="LiveId" clId="{34BE4227-F304-426D-84C4-5A5A85A14773}" dt="2023-08-03T02:58:42.442" v="4166"/>
          <ac:graphicFrameMkLst>
            <pc:docMk/>
            <pc:sldMk cId="270983175" sldId="789"/>
            <ac:graphicFrameMk id="6" creationId="{6340F78E-8A1D-407C-D535-79FCE988D987}"/>
          </ac:graphicFrameMkLst>
        </pc:graphicFrameChg>
        <pc:picChg chg="del">
          <ac:chgData name="Francisco Treviño" userId="abe7146e798f448e" providerId="LiveId" clId="{34BE4227-F304-426D-84C4-5A5A85A14773}" dt="2023-08-03T02:58:23.559" v="4086" actId="478"/>
          <ac:picMkLst>
            <pc:docMk/>
            <pc:sldMk cId="270983175" sldId="789"/>
            <ac:picMk id="4" creationId="{5FB9D449-447C-7103-DF86-A17E5974F8DD}"/>
          </ac:picMkLst>
        </pc:picChg>
        <pc:picChg chg="add mod ord">
          <ac:chgData name="Francisco Treviño" userId="abe7146e798f448e" providerId="LiveId" clId="{34BE4227-F304-426D-84C4-5A5A85A14773}" dt="2023-08-03T02:58:42.439" v="4152"/>
          <ac:picMkLst>
            <pc:docMk/>
            <pc:sldMk cId="270983175" sldId="789"/>
            <ac:picMk id="7" creationId="{99B27EFD-F60F-A0D0-F039-C4D16C20423E}"/>
          </ac:picMkLst>
        </pc:picChg>
      </pc:sldChg>
      <pc:sldChg chg="addSp delSp modSp add mod">
        <pc:chgData name="Francisco Treviño" userId="abe7146e798f448e" providerId="LiveId" clId="{34BE4227-F304-426D-84C4-5A5A85A14773}" dt="2023-08-03T03:01:47.023" v="4878" actId="20577"/>
        <pc:sldMkLst>
          <pc:docMk/>
          <pc:sldMk cId="2489577888" sldId="790"/>
        </pc:sldMkLst>
        <pc:spChg chg="mod ord">
          <ac:chgData name="Francisco Treviño" userId="abe7146e798f448e" providerId="LiveId" clId="{34BE4227-F304-426D-84C4-5A5A85A14773}" dt="2023-08-03T03:00:12.059" v="4465"/>
          <ac:spMkLst>
            <pc:docMk/>
            <pc:sldMk cId="2489577888" sldId="790"/>
            <ac:spMk id="2" creationId="{9A02571A-D1B6-8EB4-985A-7487325A2207}"/>
          </ac:spMkLst>
        </pc:spChg>
        <pc:spChg chg="mod ord">
          <ac:chgData name="Francisco Treviño" userId="abe7146e798f448e" providerId="LiveId" clId="{34BE4227-F304-426D-84C4-5A5A85A14773}" dt="2023-08-03T03:00:12.059" v="4467"/>
          <ac:spMkLst>
            <pc:docMk/>
            <pc:sldMk cId="2489577888" sldId="790"/>
            <ac:spMk id="5" creationId="{B3A1D89D-BDC4-9E00-401A-B3D38117685C}"/>
          </ac:spMkLst>
        </pc:spChg>
        <pc:spChg chg="add del mod modVis">
          <ac:chgData name="Francisco Treviño" userId="abe7146e798f448e" providerId="LiveId" clId="{34BE4227-F304-426D-84C4-5A5A85A14773}" dt="2023-08-03T03:00:09.209" v="4458"/>
          <ac:spMkLst>
            <pc:docMk/>
            <pc:sldMk cId="2489577888" sldId="790"/>
            <ac:spMk id="8" creationId="{33B7DAFB-A12E-E2F9-CBC4-F626821F764B}"/>
          </ac:spMkLst>
        </pc:spChg>
        <pc:spChg chg="mod ord">
          <ac:chgData name="Francisco Treviño" userId="abe7146e798f448e" providerId="LiveId" clId="{34BE4227-F304-426D-84C4-5A5A85A14773}" dt="2023-08-03T03:00:19.986" v="4479" actId="14100"/>
          <ac:spMkLst>
            <pc:docMk/>
            <pc:sldMk cId="2489577888" sldId="790"/>
            <ac:spMk id="9" creationId="{2F3C5488-34F8-AF90-3E26-4ADE02830BDD}"/>
          </ac:spMkLst>
        </pc:spChg>
        <pc:spChg chg="del mod ord">
          <ac:chgData name="Francisco Treviño" userId="abe7146e798f448e" providerId="LiveId" clId="{34BE4227-F304-426D-84C4-5A5A85A14773}" dt="2023-08-03T03:00:22.697" v="4480" actId="478"/>
          <ac:spMkLst>
            <pc:docMk/>
            <pc:sldMk cId="2489577888" sldId="790"/>
            <ac:spMk id="13" creationId="{3E2744D6-DE43-2C79-9F26-B6DBBE7F0FCA}"/>
          </ac:spMkLst>
        </pc:spChg>
        <pc:spChg chg="mod ord">
          <ac:chgData name="Francisco Treviño" userId="abe7146e798f448e" providerId="LiveId" clId="{34BE4227-F304-426D-84C4-5A5A85A14773}" dt="2023-08-03T03:01:47.023" v="4878" actId="20577"/>
          <ac:spMkLst>
            <pc:docMk/>
            <pc:sldMk cId="2489577888" sldId="790"/>
            <ac:spMk id="14" creationId="{08956B84-7844-5DA4-FB4C-8E619E3F96BE}"/>
          </ac:spMkLst>
        </pc:spChg>
        <pc:graphicFrameChg chg="mod">
          <ac:chgData name="Francisco Treviño" userId="abe7146e798f448e" providerId="LiveId" clId="{34BE4227-F304-426D-84C4-5A5A85A14773}" dt="2023-08-03T03:00:12.062" v="4477"/>
          <ac:graphicFrameMkLst>
            <pc:docMk/>
            <pc:sldMk cId="2489577888" sldId="790"/>
            <ac:graphicFrameMk id="6" creationId="{6340F78E-8A1D-407C-D535-79FCE988D987}"/>
          </ac:graphicFrameMkLst>
        </pc:graphicFrameChg>
        <pc:picChg chg="add mod ord">
          <ac:chgData name="Francisco Treviño" userId="abe7146e798f448e" providerId="LiveId" clId="{34BE4227-F304-426D-84C4-5A5A85A14773}" dt="2023-08-03T03:00:12.058" v="4463"/>
          <ac:picMkLst>
            <pc:docMk/>
            <pc:sldMk cId="2489577888" sldId="790"/>
            <ac:picMk id="4" creationId="{EBA814FF-28E5-6D28-F7C2-C233141F08BB}"/>
          </ac:picMkLst>
        </pc:picChg>
        <pc:picChg chg="del">
          <ac:chgData name="Francisco Treviño" userId="abe7146e798f448e" providerId="LiveId" clId="{34BE4227-F304-426D-84C4-5A5A85A14773}" dt="2023-08-03T03:00:01.119" v="4400" actId="478"/>
          <ac:picMkLst>
            <pc:docMk/>
            <pc:sldMk cId="2489577888" sldId="790"/>
            <ac:picMk id="7" creationId="{99B27EFD-F60F-A0D0-F039-C4D16C20423E}"/>
          </ac:picMkLst>
        </pc:picChg>
      </pc:sldChg>
      <pc:sldChg chg="addSp delSp modSp add mod">
        <pc:chgData name="Francisco Treviño" userId="abe7146e798f448e" providerId="LiveId" clId="{34BE4227-F304-426D-84C4-5A5A85A14773}" dt="2023-08-03T03:03:31.632" v="5395"/>
        <pc:sldMkLst>
          <pc:docMk/>
          <pc:sldMk cId="3161775624" sldId="791"/>
        </pc:sldMkLst>
        <pc:spChg chg="add del mod modVis">
          <ac:chgData name="Francisco Treviño" userId="abe7146e798f448e" providerId="LiveId" clId="{34BE4227-F304-426D-84C4-5A5A85A14773}" dt="2023-08-03T03:02:52.950" v="4952"/>
          <ac:spMkLst>
            <pc:docMk/>
            <pc:sldMk cId="3161775624" sldId="791"/>
            <ac:spMk id="2" creationId="{312065AE-710F-47F3-C5D9-71F535E1BE31}"/>
          </ac:spMkLst>
        </pc:spChg>
        <pc:spChg chg="add del mod modVis">
          <ac:chgData name="Francisco Treviño" userId="abe7146e798f448e" providerId="LiveId" clId="{34BE4227-F304-426D-84C4-5A5A85A14773}" dt="2023-08-03T03:03:01.419" v="5139" actId="962"/>
          <ac:spMkLst>
            <pc:docMk/>
            <pc:sldMk cId="3161775624" sldId="791"/>
            <ac:spMk id="3" creationId="{BAE55833-04F9-D4E9-F319-825281412865}"/>
          </ac:spMkLst>
        </pc:spChg>
        <pc:spChg chg="mod">
          <ac:chgData name="Francisco Treviño" userId="abe7146e798f448e" providerId="LiveId" clId="{34BE4227-F304-426D-84C4-5A5A85A14773}" dt="2023-08-03T03:03:31.606" v="5352" actId="948"/>
          <ac:spMkLst>
            <pc:docMk/>
            <pc:sldMk cId="3161775624" sldId="791"/>
            <ac:spMk id="4" creationId="{7B84A045-2D43-9859-3469-84775715D19E}"/>
          </ac:spMkLst>
        </pc:spChg>
        <pc:spChg chg="add del mod modVis">
          <ac:chgData name="Francisco Treviño" userId="abe7146e798f448e" providerId="LiveId" clId="{34BE4227-F304-426D-84C4-5A5A85A14773}" dt="2023-08-03T03:03:01.159" v="5095" actId="962"/>
          <ac:spMkLst>
            <pc:docMk/>
            <pc:sldMk cId="3161775624" sldId="791"/>
            <ac:spMk id="5" creationId="{09BD5E63-F56F-7382-89CA-B48922120E47}"/>
          </ac:spMkLst>
        </pc:spChg>
        <pc:spChg chg="mod">
          <ac:chgData name="Francisco Treviño" userId="abe7146e798f448e" providerId="LiveId" clId="{34BE4227-F304-426D-84C4-5A5A85A14773}" dt="2023-08-03T03:03:27.328" v="5350" actId="1076"/>
          <ac:spMkLst>
            <pc:docMk/>
            <pc:sldMk cId="3161775624" sldId="791"/>
            <ac:spMk id="6" creationId="{60B98384-6C2B-DE53-1035-635F674877BC}"/>
          </ac:spMkLst>
        </pc:spChg>
        <pc:spChg chg="mod">
          <ac:chgData name="Francisco Treviño" userId="abe7146e798f448e" providerId="LiveId" clId="{34BE4227-F304-426D-84C4-5A5A85A14773}" dt="2023-08-03T03:03:23.376" v="5348" actId="1076"/>
          <ac:spMkLst>
            <pc:docMk/>
            <pc:sldMk cId="3161775624" sldId="791"/>
            <ac:spMk id="8" creationId="{EB3FA82C-4582-20B0-47D7-74A996EFA3BE}"/>
          </ac:spMkLst>
        </pc:spChg>
        <pc:spChg chg="add del mod modVis">
          <ac:chgData name="Francisco Treviño" userId="abe7146e798f448e" providerId="LiveId" clId="{34BE4227-F304-426D-84C4-5A5A85A14773}" dt="2023-08-03T03:03:04.821" v="5194"/>
          <ac:spMkLst>
            <pc:docMk/>
            <pc:sldMk cId="3161775624" sldId="791"/>
            <ac:spMk id="9" creationId="{D433B32B-8534-95B0-0AAA-8C30BD73A47B}"/>
          </ac:spMkLst>
        </pc:spChg>
        <pc:spChg chg="add del mod modVis">
          <ac:chgData name="Francisco Treviño" userId="abe7146e798f448e" providerId="LiveId" clId="{34BE4227-F304-426D-84C4-5A5A85A14773}" dt="2023-08-03T03:03:05.848" v="5240"/>
          <ac:spMkLst>
            <pc:docMk/>
            <pc:sldMk cId="3161775624" sldId="791"/>
            <ac:spMk id="12" creationId="{264BE114-0776-E554-6072-E512B0B88310}"/>
          </ac:spMkLst>
        </pc:spChg>
        <pc:spChg chg="add del mod modVis">
          <ac:chgData name="Francisco Treviño" userId="abe7146e798f448e" providerId="LiveId" clId="{34BE4227-F304-426D-84C4-5A5A85A14773}" dt="2023-08-03T03:03:07.455" v="5289"/>
          <ac:spMkLst>
            <pc:docMk/>
            <pc:sldMk cId="3161775624" sldId="791"/>
            <ac:spMk id="13" creationId="{C9BEBC4C-EEC3-B764-CCA3-7E38EB88CFF2}"/>
          </ac:spMkLst>
        </pc:spChg>
        <pc:spChg chg="add del mod modVis">
          <ac:chgData name="Francisco Treviño" userId="abe7146e798f448e" providerId="LiveId" clId="{34BE4227-F304-426D-84C4-5A5A85A14773}" dt="2023-08-03T03:03:10.047" v="5343"/>
          <ac:spMkLst>
            <pc:docMk/>
            <pc:sldMk cId="3161775624" sldId="791"/>
            <ac:spMk id="14" creationId="{ECD7F6B5-EE9D-8D7E-02D4-93A0CAEEBBFA}"/>
          </ac:spMkLst>
        </pc:spChg>
        <pc:spChg chg="add del mod modVis">
          <ac:chgData name="Francisco Treviño" userId="abe7146e798f448e" providerId="LiveId" clId="{34BE4227-F304-426D-84C4-5A5A85A14773}" dt="2023-08-03T03:03:31.631" v="5393"/>
          <ac:spMkLst>
            <pc:docMk/>
            <pc:sldMk cId="3161775624" sldId="791"/>
            <ac:spMk id="15" creationId="{805DF3F0-CCBE-D30E-8F91-CEB1F924D2E9}"/>
          </ac:spMkLst>
        </pc:spChg>
        <pc:spChg chg="del">
          <ac:chgData name="Francisco Treviño" userId="abe7146e798f448e" providerId="LiveId" clId="{34BE4227-F304-426D-84C4-5A5A85A14773}" dt="2023-08-03T03:02:46.123" v="4884" actId="478"/>
          <ac:spMkLst>
            <pc:docMk/>
            <pc:sldMk cId="3161775624" sldId="791"/>
            <ac:spMk id="16" creationId="{1A60D29C-B10D-9B4D-44F2-AF9535A39046}"/>
          </ac:spMkLst>
        </pc:spChg>
        <pc:graphicFrameChg chg="mod">
          <ac:chgData name="Francisco Treviño" userId="abe7146e798f448e" providerId="LiveId" clId="{34BE4227-F304-426D-84C4-5A5A85A14773}" dt="2023-08-03T03:03:31.632" v="5395"/>
          <ac:graphicFrameMkLst>
            <pc:docMk/>
            <pc:sldMk cId="3161775624" sldId="791"/>
            <ac:graphicFrameMk id="7" creationId="{56BD78A3-C4FF-27E8-1B40-A974254C4035}"/>
          </ac:graphicFrameMkLst>
        </pc:graphicFrameChg>
        <pc:picChg chg="mod">
          <ac:chgData name="Francisco Treviño" userId="abe7146e798f448e" providerId="LiveId" clId="{34BE4227-F304-426D-84C4-5A5A85A14773}" dt="2023-08-03T03:03:23.376" v="5348" actId="1076"/>
          <ac:picMkLst>
            <pc:docMk/>
            <pc:sldMk cId="3161775624" sldId="791"/>
            <ac:picMk id="24" creationId="{FA6FABF4-FF22-EF4E-5B6C-BCF42EE7499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500E9C-8B7E-7128-1835-45AC65AAF61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B3C8F64-8D19-33C2-9FE0-41A83B68DB7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3FAB87D-0ED9-4E11-B647-B992354246EE}" type="datetimeFigureOut">
              <a:rPr lang="en-US" smtClean="0"/>
              <a:t>6/27/2024</a:t>
            </a:fld>
            <a:endParaRPr lang="en-US"/>
          </a:p>
        </p:txBody>
      </p:sp>
      <p:sp>
        <p:nvSpPr>
          <p:cNvPr id="4" name="Footer Placeholder 3">
            <a:extLst>
              <a:ext uri="{FF2B5EF4-FFF2-40B4-BE49-F238E27FC236}">
                <a16:creationId xmlns:a16="http://schemas.microsoft.com/office/drawing/2014/main" id="{C7A054EE-494A-CAB2-49EF-7C44BE5B2BC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F8C64E4-1600-F462-3593-F7B4F7A01C0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B54B5F9-CD89-4CCC-A053-EA9C73419CA5}" type="slidenum">
              <a:rPr lang="en-US" smtClean="0"/>
              <a:t>‹#›</a:t>
            </a:fld>
            <a:endParaRPr lang="en-US"/>
          </a:p>
        </p:txBody>
      </p:sp>
    </p:spTree>
    <p:extLst>
      <p:ext uri="{BB962C8B-B14F-4D97-AF65-F5344CB8AC3E}">
        <p14:creationId xmlns:p14="http://schemas.microsoft.com/office/powerpoint/2010/main" val="33818657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F326AD0-EE9D-476A-8B9A-AAD5FD89CCBA}" type="datetimeFigureOut">
              <a:rPr lang="en-US" smtClean="0"/>
              <a:t>6/2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02EF64-02B8-4FA1-92AC-5DDA1BC20815}" type="slidenum">
              <a:rPr lang="en-US" smtClean="0"/>
              <a:t>‹#›</a:t>
            </a:fld>
            <a:endParaRPr lang="en-US"/>
          </a:p>
        </p:txBody>
      </p:sp>
    </p:spTree>
    <p:extLst>
      <p:ext uri="{BB962C8B-B14F-4D97-AF65-F5344CB8AC3E}">
        <p14:creationId xmlns:p14="http://schemas.microsoft.com/office/powerpoint/2010/main" val="16132315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2C8D5-32A9-4081-A757-5AFA78BB576C}"/>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D163691-FB3C-497D-A159-F3FF5C3D31DC}"/>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D208589-F775-4A10-B7D2-91BCABA44565}"/>
              </a:ext>
            </a:extLst>
          </p:cNvPr>
          <p:cNvSpPr>
            <a:spLocks noGrp="1"/>
          </p:cNvSpPr>
          <p:nvPr>
            <p:ph type="dt" sz="half" idx="10"/>
          </p:nvPr>
        </p:nvSpPr>
        <p:spPr>
          <a:xfrm>
            <a:off x="838200" y="6356350"/>
            <a:ext cx="2743200" cy="365125"/>
          </a:xfrm>
          <a:prstGeom prst="rect">
            <a:avLst/>
          </a:prstGeom>
        </p:spPr>
        <p:txBody>
          <a:bodyPr/>
          <a:lstStyle/>
          <a:p>
            <a:fld id="{549C3C99-995E-4EAF-ABFC-107BC200D6FD}" type="datetime1">
              <a:rPr lang="en-US" smtClean="0"/>
              <a:t>6/27/2024</a:t>
            </a:fld>
            <a:endParaRPr lang="en-US"/>
          </a:p>
        </p:txBody>
      </p:sp>
      <p:sp>
        <p:nvSpPr>
          <p:cNvPr id="5" name="Footer Placeholder 4">
            <a:extLst>
              <a:ext uri="{FF2B5EF4-FFF2-40B4-BE49-F238E27FC236}">
                <a16:creationId xmlns:a16="http://schemas.microsoft.com/office/drawing/2014/main" id="{8AE1F2C8-BCAF-4671-B0BE-AF1A6A6C161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1FDD860-FDD3-4D65-A0AE-74F1BF76D8ED}"/>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5825670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281B26-8C5C-4927-B774-F74E698B8CD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19EA4CD-3282-43EA-A8F3-E26737A5244A}"/>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3DE48B0-CE50-4A9C-AE6D-0B6AE426C3B7}"/>
              </a:ext>
            </a:extLst>
          </p:cNvPr>
          <p:cNvSpPr>
            <a:spLocks noGrp="1"/>
          </p:cNvSpPr>
          <p:nvPr>
            <p:ph type="dt" sz="half" idx="10"/>
          </p:nvPr>
        </p:nvSpPr>
        <p:spPr>
          <a:xfrm>
            <a:off x="838200" y="6356350"/>
            <a:ext cx="2743200" cy="365125"/>
          </a:xfrm>
          <a:prstGeom prst="rect">
            <a:avLst/>
          </a:prstGeom>
        </p:spPr>
        <p:txBody>
          <a:bodyPr/>
          <a:lstStyle/>
          <a:p>
            <a:fld id="{1FC12D52-F28B-41E1-86E6-4AD3FE3B5BD5}" type="datetime1">
              <a:rPr lang="en-US" smtClean="0"/>
              <a:t>6/27/2024</a:t>
            </a:fld>
            <a:endParaRPr lang="en-US"/>
          </a:p>
        </p:txBody>
      </p:sp>
      <p:sp>
        <p:nvSpPr>
          <p:cNvPr id="5" name="Footer Placeholder 4">
            <a:extLst>
              <a:ext uri="{FF2B5EF4-FFF2-40B4-BE49-F238E27FC236}">
                <a16:creationId xmlns:a16="http://schemas.microsoft.com/office/drawing/2014/main" id="{C25E28D5-F43E-48AB-BDB7-E082E336BD3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4D15AD34-C27C-4273-848A-9E49D362CD3A}"/>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98103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852FC7E-EFAD-484F-9B65-6CB3B5E3D5F9}"/>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4FC958A-E9E1-4094-8C66-1CBD0F2602CE}"/>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AF4BA-F52D-4E6B-A245-CC8596427B47}"/>
              </a:ext>
            </a:extLst>
          </p:cNvPr>
          <p:cNvSpPr>
            <a:spLocks noGrp="1"/>
          </p:cNvSpPr>
          <p:nvPr>
            <p:ph type="dt" sz="half" idx="10"/>
          </p:nvPr>
        </p:nvSpPr>
        <p:spPr>
          <a:xfrm>
            <a:off x="838200" y="6356350"/>
            <a:ext cx="2743200" cy="365125"/>
          </a:xfrm>
          <a:prstGeom prst="rect">
            <a:avLst/>
          </a:prstGeom>
        </p:spPr>
        <p:txBody>
          <a:bodyPr/>
          <a:lstStyle/>
          <a:p>
            <a:fld id="{5038B6E4-9014-4E60-AD4A-9D8A2A3CC6AE}" type="datetime1">
              <a:rPr lang="en-US" smtClean="0"/>
              <a:t>6/27/2024</a:t>
            </a:fld>
            <a:endParaRPr lang="en-US"/>
          </a:p>
        </p:txBody>
      </p:sp>
      <p:sp>
        <p:nvSpPr>
          <p:cNvPr id="5" name="Footer Placeholder 4">
            <a:extLst>
              <a:ext uri="{FF2B5EF4-FFF2-40B4-BE49-F238E27FC236}">
                <a16:creationId xmlns:a16="http://schemas.microsoft.com/office/drawing/2014/main" id="{B1323F89-D9F4-46BA-8691-52C5694901F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42643C71-75F5-47C5-B33D-9A396ABD5266}"/>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9776973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223CBED-A9C5-41E9-C973-4AC7040251BC}"/>
              </a:ext>
            </a:extLst>
          </p:cNvPr>
          <p:cNvGraphicFramePr>
            <a:graphicFrameLocks noChangeAspect="1"/>
          </p:cNvGraphicFramePr>
          <p:nvPr userDrawn="1">
            <p:custDataLst>
              <p:tags r:id="rId1"/>
            </p:custDataLst>
            <p:extLst>
              <p:ext uri="{D42A27DB-BD31-4B8C-83A1-F6EECF244321}">
                <p14:modId xmlns:p14="http://schemas.microsoft.com/office/powerpoint/2010/main" val="3708384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10" name="Object 9" hidden="1">
                        <a:extLst>
                          <a:ext uri="{FF2B5EF4-FFF2-40B4-BE49-F238E27FC236}">
                            <a16:creationId xmlns:a16="http://schemas.microsoft.com/office/drawing/2014/main" id="{9223CBED-A9C5-41E9-C973-4AC7040251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ight Triangle 10">
            <a:extLst>
              <a:ext uri="{FF2B5EF4-FFF2-40B4-BE49-F238E27FC236}">
                <a16:creationId xmlns:a16="http://schemas.microsoft.com/office/drawing/2014/main" id="{980AD329-BECB-E6AB-BFD7-438199F52CFF}"/>
              </a:ext>
            </a:extLst>
          </p:cNvPr>
          <p:cNvSpPr/>
          <p:nvPr userDrawn="1"/>
        </p:nvSpPr>
        <p:spPr>
          <a:xfrm flipH="1" flipV="1">
            <a:off x="11277599" y="-7938"/>
            <a:ext cx="914400" cy="914400"/>
          </a:xfrm>
          <a:prstGeom prst="rtTriangle">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97A6669D-ED6A-E883-0FA7-2829344C5EFB}"/>
              </a:ext>
            </a:extLst>
          </p:cNvPr>
          <p:cNvSpPr/>
          <p:nvPr userDrawn="1"/>
        </p:nvSpPr>
        <p:spPr>
          <a:xfrm>
            <a:off x="-1" y="6196277"/>
            <a:ext cx="12192000" cy="681036"/>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422CE55-96D3-4AB9-8614-3318754E74D5}"/>
              </a:ext>
            </a:extLst>
          </p:cNvPr>
          <p:cNvSpPr>
            <a:spLocks noGrp="1"/>
          </p:cNvSpPr>
          <p:nvPr>
            <p:ph type="title"/>
          </p:nvPr>
        </p:nvSpPr>
        <p:spPr>
          <a:xfrm>
            <a:off x="838200" y="365125"/>
            <a:ext cx="10515600" cy="1082675"/>
          </a:xfrm>
          <a:prstGeom prst="rect">
            <a:avLst/>
          </a:prstGeom>
        </p:spPr>
        <p:txBody>
          <a:bodyPr vert="horz">
            <a:normAutofit/>
          </a:bodyPr>
          <a:lstStyle>
            <a:lvl1pPr>
              <a:defRPr sz="3200" b="1">
                <a:solidFill>
                  <a:srgbClr val="152847"/>
                </a:solidFill>
                <a:latin typeface="Montserrat" panose="00000500000000000000" pitchFamily="2"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876BFD48-4D35-4A99-9D03-2505F1875AC2}"/>
              </a:ext>
            </a:extLst>
          </p:cNvPr>
          <p:cNvSpPr>
            <a:spLocks noGrp="1"/>
          </p:cNvSpPr>
          <p:nvPr>
            <p:ph idx="1"/>
          </p:nvPr>
        </p:nvSpPr>
        <p:spPr>
          <a:xfrm>
            <a:off x="838200" y="1582737"/>
            <a:ext cx="10515600" cy="4351338"/>
          </a:xfrm>
          <a:prstGeom prst="rect">
            <a:avLst/>
          </a:prstGeom>
        </p:spPr>
        <p:txBody>
          <a:bodyPr/>
          <a:lstStyle>
            <a:lvl1pPr>
              <a:defRPr sz="2400">
                <a:solidFill>
                  <a:srgbClr val="152847"/>
                </a:solidFill>
                <a:latin typeface="Montserrat" panose="00000500000000000000" pitchFamily="2" charset="0"/>
                <a:cs typeface="Arial" panose="020B0604020202020204" pitchFamily="34" charset="0"/>
              </a:defRPr>
            </a:lvl1pPr>
            <a:lvl2pPr>
              <a:defRPr sz="2000">
                <a:solidFill>
                  <a:srgbClr val="152847"/>
                </a:solidFill>
                <a:latin typeface="Montserrat" panose="00000500000000000000" pitchFamily="2" charset="0"/>
                <a:cs typeface="Arial" panose="020B0604020202020204" pitchFamily="34" charset="0"/>
              </a:defRPr>
            </a:lvl2pPr>
            <a:lvl3pPr>
              <a:defRPr sz="1800">
                <a:solidFill>
                  <a:srgbClr val="152847"/>
                </a:solidFill>
                <a:latin typeface="Montserrat" panose="00000500000000000000" pitchFamily="2" charset="0"/>
                <a:cs typeface="Arial" panose="020B0604020202020204" pitchFamily="34" charset="0"/>
              </a:defRPr>
            </a:lvl3pPr>
            <a:lvl4pPr>
              <a:defRPr>
                <a:solidFill>
                  <a:srgbClr val="152847"/>
                </a:solidFill>
                <a:latin typeface="Montserrat" panose="00000500000000000000" pitchFamily="2" charset="0"/>
                <a:cs typeface="Arial" panose="020B0604020202020204" pitchFamily="34" charset="0"/>
              </a:defRPr>
            </a:lvl4pPr>
            <a:lvl5pPr>
              <a:defRPr>
                <a:solidFill>
                  <a:srgbClr val="152847"/>
                </a:solidFill>
                <a:latin typeface="Montserrat" panose="00000500000000000000"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921BB8-DC1C-4D44-BECF-C3B586E89696}"/>
              </a:ext>
            </a:extLst>
          </p:cNvPr>
          <p:cNvSpPr>
            <a:spLocks noGrp="1"/>
          </p:cNvSpPr>
          <p:nvPr>
            <p:ph type="sldNum" sz="quarter" idx="12"/>
          </p:nvPr>
        </p:nvSpPr>
        <p:spPr>
          <a:xfrm>
            <a:off x="11658600" y="61119"/>
            <a:ext cx="533399" cy="365125"/>
          </a:xfrm>
          <a:prstGeom prst="rect">
            <a:avLst/>
          </a:prstGeom>
        </p:spPr>
        <p:txBody>
          <a:bodyPr/>
          <a:lstStyle>
            <a:lvl1pPr algn="ctr">
              <a:defRPr sz="1400">
                <a:solidFill>
                  <a:schemeClr val="bg1"/>
                </a:solidFill>
                <a:latin typeface="Montserrat" panose="00000500000000000000" pitchFamily="2" charset="0"/>
              </a:defRPr>
            </a:lvl1pPr>
          </a:lstStyle>
          <a:p>
            <a:fld id="{DB0B1108-123B-4852-BC07-BFE10A5179C7}" type="slidenum">
              <a:rPr lang="en-US" smtClean="0"/>
              <a:pPr/>
              <a:t>‹#›</a:t>
            </a:fld>
            <a:endParaRPr lang="en-US" dirty="0"/>
          </a:p>
        </p:txBody>
      </p:sp>
      <p:pic>
        <p:nvPicPr>
          <p:cNvPr id="3075" name="Picture 3" descr="Institute for Manufacturing | University of Cambridge">
            <a:extLst>
              <a:ext uri="{FF2B5EF4-FFF2-40B4-BE49-F238E27FC236}">
                <a16:creationId xmlns:a16="http://schemas.microsoft.com/office/drawing/2014/main" id="{90734C59-2CCE-6BE2-DA0E-FF45B3F5A9F1}"/>
              </a:ext>
            </a:extLst>
          </p:cNvPr>
          <p:cNvPicPr>
            <a:picLocks noChangeAspect="1" noChangeArrowheads="1"/>
          </p:cNvPicPr>
          <p:nvPr userDrawn="1"/>
        </p:nvPicPr>
        <p:blipFill rotWithShape="1">
          <a:blip r:embed="rId5">
            <a:biLevel thresh="25000"/>
            <a:extLst>
              <a:ext uri="{28A0092B-C50C-407E-A947-70E740481C1C}">
                <a14:useLocalDpi xmlns:a14="http://schemas.microsoft.com/office/drawing/2010/main" val="0"/>
              </a:ext>
            </a:extLst>
          </a:blip>
          <a:srcRect t="23149" b="23462"/>
          <a:stretch/>
        </p:blipFill>
        <p:spPr bwMode="auto">
          <a:xfrm>
            <a:off x="457200" y="6282530"/>
            <a:ext cx="1905000" cy="508530"/>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CE31FCDA-95C8-CC19-A82D-C4331DD2D9EC}"/>
              </a:ext>
            </a:extLst>
          </p:cNvPr>
          <p:cNvGrpSpPr/>
          <p:nvPr userDrawn="1"/>
        </p:nvGrpSpPr>
        <p:grpSpPr>
          <a:xfrm>
            <a:off x="9202548" y="6289411"/>
            <a:ext cx="2570352" cy="501649"/>
            <a:chOff x="8513075" y="5905500"/>
            <a:chExt cx="2990637" cy="585216"/>
          </a:xfrm>
        </p:grpSpPr>
        <p:pic>
          <p:nvPicPr>
            <p:cNvPr id="8" name="Picture 2" descr="University of Cambridge Logo PNG Transparent (1) – Brands Logos">
              <a:extLst>
                <a:ext uri="{FF2B5EF4-FFF2-40B4-BE49-F238E27FC236}">
                  <a16:creationId xmlns:a16="http://schemas.microsoft.com/office/drawing/2014/main" id="{86B15FBF-5669-51A5-5F09-C942990E4ED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University of Cambridge Logo PNG Transparent (1) – Brands Logos">
              <a:extLst>
                <a:ext uri="{FF2B5EF4-FFF2-40B4-BE49-F238E27FC236}">
                  <a16:creationId xmlns:a16="http://schemas.microsoft.com/office/drawing/2014/main" id="{4BE916EF-1C7D-5EC3-DDCF-2D420ABE77AE}"/>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608140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6BD0C-74EE-49A2-BBFC-67BF0FE77F70}"/>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B203AFA-61D8-44D1-BD45-CD88734F81AF}"/>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1344F04-235E-40D3-9569-7C90465CDE0D}"/>
              </a:ext>
            </a:extLst>
          </p:cNvPr>
          <p:cNvSpPr>
            <a:spLocks noGrp="1"/>
          </p:cNvSpPr>
          <p:nvPr>
            <p:ph type="dt" sz="half" idx="10"/>
          </p:nvPr>
        </p:nvSpPr>
        <p:spPr>
          <a:xfrm>
            <a:off x="838200" y="6356350"/>
            <a:ext cx="2743200" cy="365125"/>
          </a:xfrm>
          <a:prstGeom prst="rect">
            <a:avLst/>
          </a:prstGeom>
        </p:spPr>
        <p:txBody>
          <a:bodyPr/>
          <a:lstStyle/>
          <a:p>
            <a:fld id="{CA41324B-6498-44A2-A942-38555184416A}" type="datetime1">
              <a:rPr lang="en-US" smtClean="0"/>
              <a:t>6/27/2024</a:t>
            </a:fld>
            <a:endParaRPr lang="en-US"/>
          </a:p>
        </p:txBody>
      </p:sp>
      <p:sp>
        <p:nvSpPr>
          <p:cNvPr id="5" name="Footer Placeholder 4">
            <a:extLst>
              <a:ext uri="{FF2B5EF4-FFF2-40B4-BE49-F238E27FC236}">
                <a16:creationId xmlns:a16="http://schemas.microsoft.com/office/drawing/2014/main" id="{FAAD314C-507C-4223-BDD9-8D98113879D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94E2741-F35D-4BBA-AE50-AC53BACFB8CB}"/>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25345588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82CF5-37A0-46F0-A62B-D01479E3E5F6}"/>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81850FDD-C301-4F4C-B5D6-DAF65B141496}"/>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74FC186-C0B7-4364-86A3-A4586721ACAC}"/>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F3B4FBB-3AF7-46A3-9CE6-17B5770FD3E6}"/>
              </a:ext>
            </a:extLst>
          </p:cNvPr>
          <p:cNvSpPr>
            <a:spLocks noGrp="1"/>
          </p:cNvSpPr>
          <p:nvPr>
            <p:ph type="dt" sz="half" idx="10"/>
          </p:nvPr>
        </p:nvSpPr>
        <p:spPr>
          <a:xfrm>
            <a:off x="838200" y="6356350"/>
            <a:ext cx="2743200" cy="365125"/>
          </a:xfrm>
          <a:prstGeom prst="rect">
            <a:avLst/>
          </a:prstGeom>
        </p:spPr>
        <p:txBody>
          <a:bodyPr/>
          <a:lstStyle/>
          <a:p>
            <a:fld id="{BF9A8200-1CC9-4E03-A384-2A5123995ACC}" type="datetime1">
              <a:rPr lang="en-US" smtClean="0"/>
              <a:t>6/27/2024</a:t>
            </a:fld>
            <a:endParaRPr lang="en-US"/>
          </a:p>
        </p:txBody>
      </p:sp>
      <p:sp>
        <p:nvSpPr>
          <p:cNvPr id="6" name="Footer Placeholder 5">
            <a:extLst>
              <a:ext uri="{FF2B5EF4-FFF2-40B4-BE49-F238E27FC236}">
                <a16:creationId xmlns:a16="http://schemas.microsoft.com/office/drawing/2014/main" id="{6E620ED6-2453-46C6-92ED-363AEE6834A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595DE97-4FF4-4446-A0F7-DF010A16D1FB}"/>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20656826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CFADA-E2E4-4600-B388-950CE6E924B5}"/>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08C20D5-185A-4370-A4FC-F2296FF7FDF0}"/>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3DDFA80-70B7-4B23-B3D4-3A972E61F3CD}"/>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E7C064E-D0C2-471A-A908-FE9536238992}"/>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D25C0A-15F6-4A7C-AF21-3874EBBA47AE}"/>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2223123-E577-4358-B5B7-87C611352C46}"/>
              </a:ext>
            </a:extLst>
          </p:cNvPr>
          <p:cNvSpPr>
            <a:spLocks noGrp="1"/>
          </p:cNvSpPr>
          <p:nvPr>
            <p:ph type="dt" sz="half" idx="10"/>
          </p:nvPr>
        </p:nvSpPr>
        <p:spPr>
          <a:xfrm>
            <a:off x="838200" y="6356350"/>
            <a:ext cx="2743200" cy="365125"/>
          </a:xfrm>
          <a:prstGeom prst="rect">
            <a:avLst/>
          </a:prstGeom>
        </p:spPr>
        <p:txBody>
          <a:bodyPr/>
          <a:lstStyle/>
          <a:p>
            <a:fld id="{D050ED0F-39E8-4BDB-9D3F-1437720B698B}" type="datetime1">
              <a:rPr lang="en-US" smtClean="0"/>
              <a:t>6/27/2024</a:t>
            </a:fld>
            <a:endParaRPr lang="en-US"/>
          </a:p>
        </p:txBody>
      </p:sp>
      <p:sp>
        <p:nvSpPr>
          <p:cNvPr id="8" name="Footer Placeholder 7">
            <a:extLst>
              <a:ext uri="{FF2B5EF4-FFF2-40B4-BE49-F238E27FC236}">
                <a16:creationId xmlns:a16="http://schemas.microsoft.com/office/drawing/2014/main" id="{E3201113-2444-45F1-8042-5BEB118E96E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D01E6B3D-3A5A-4202-BE9B-37A627B1FDE3}"/>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12664752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AC2DB-D2D9-457E-9898-2C9FCD1357B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D6A7CB3E-FDFF-4380-8183-BB2A1DB7F7A7}"/>
              </a:ext>
            </a:extLst>
          </p:cNvPr>
          <p:cNvSpPr>
            <a:spLocks noGrp="1"/>
          </p:cNvSpPr>
          <p:nvPr>
            <p:ph type="dt" sz="half" idx="10"/>
          </p:nvPr>
        </p:nvSpPr>
        <p:spPr>
          <a:xfrm>
            <a:off x="838200" y="6356350"/>
            <a:ext cx="2743200" cy="365125"/>
          </a:xfrm>
          <a:prstGeom prst="rect">
            <a:avLst/>
          </a:prstGeom>
        </p:spPr>
        <p:txBody>
          <a:bodyPr/>
          <a:lstStyle/>
          <a:p>
            <a:fld id="{3980801C-6720-497B-AB88-37FE6ECE8C8F}" type="datetime1">
              <a:rPr lang="en-US" smtClean="0"/>
              <a:t>6/27/2024</a:t>
            </a:fld>
            <a:endParaRPr lang="en-US"/>
          </a:p>
        </p:txBody>
      </p:sp>
      <p:sp>
        <p:nvSpPr>
          <p:cNvPr id="4" name="Footer Placeholder 3">
            <a:extLst>
              <a:ext uri="{FF2B5EF4-FFF2-40B4-BE49-F238E27FC236}">
                <a16:creationId xmlns:a16="http://schemas.microsoft.com/office/drawing/2014/main" id="{29FC1663-5970-464C-81C1-8C20CE3C427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28DADA8F-AA2B-4BA8-8571-4740AD5BB2C8}"/>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2259941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1BEF8BF-000A-44E4-AC6F-DF522F76BF36}"/>
              </a:ext>
            </a:extLst>
          </p:cNvPr>
          <p:cNvSpPr>
            <a:spLocks noGrp="1"/>
          </p:cNvSpPr>
          <p:nvPr>
            <p:ph type="dt" sz="half" idx="10"/>
          </p:nvPr>
        </p:nvSpPr>
        <p:spPr>
          <a:xfrm>
            <a:off x="838200" y="6356350"/>
            <a:ext cx="2743200" cy="365125"/>
          </a:xfrm>
          <a:prstGeom prst="rect">
            <a:avLst/>
          </a:prstGeom>
        </p:spPr>
        <p:txBody>
          <a:bodyPr/>
          <a:lstStyle/>
          <a:p>
            <a:fld id="{A29EAD06-72E6-4D2F-BB97-A8E3A2402C8E}" type="datetime1">
              <a:rPr lang="en-US" smtClean="0"/>
              <a:t>6/27/2024</a:t>
            </a:fld>
            <a:endParaRPr lang="en-US"/>
          </a:p>
        </p:txBody>
      </p:sp>
      <p:sp>
        <p:nvSpPr>
          <p:cNvPr id="3" name="Footer Placeholder 2">
            <a:extLst>
              <a:ext uri="{FF2B5EF4-FFF2-40B4-BE49-F238E27FC236}">
                <a16:creationId xmlns:a16="http://schemas.microsoft.com/office/drawing/2014/main" id="{6EA30400-A9A5-4420-8639-A8396E9CF37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9DF9B8CB-0CBB-46BA-8A43-9743D61330DC}"/>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2941077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082137-0087-424D-ACA2-F705AEF28094}"/>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3EFEB7B-2BE0-4AE3-BF78-F5FCFFF9AECB}"/>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2C07FC7-11FB-4174-BA8A-47EC94BF5E51}"/>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973B5E2-F682-4C8B-8733-DC53A78C0C65}"/>
              </a:ext>
            </a:extLst>
          </p:cNvPr>
          <p:cNvSpPr>
            <a:spLocks noGrp="1"/>
          </p:cNvSpPr>
          <p:nvPr>
            <p:ph type="dt" sz="half" idx="10"/>
          </p:nvPr>
        </p:nvSpPr>
        <p:spPr>
          <a:xfrm>
            <a:off x="838200" y="6356350"/>
            <a:ext cx="2743200" cy="365125"/>
          </a:xfrm>
          <a:prstGeom prst="rect">
            <a:avLst/>
          </a:prstGeom>
        </p:spPr>
        <p:txBody>
          <a:bodyPr/>
          <a:lstStyle/>
          <a:p>
            <a:fld id="{C3E2B3E2-5F51-4315-A5C8-8D9B2A5E3D96}" type="datetime1">
              <a:rPr lang="en-US" smtClean="0"/>
              <a:t>6/27/2024</a:t>
            </a:fld>
            <a:endParaRPr lang="en-US"/>
          </a:p>
        </p:txBody>
      </p:sp>
      <p:sp>
        <p:nvSpPr>
          <p:cNvPr id="6" name="Footer Placeholder 5">
            <a:extLst>
              <a:ext uri="{FF2B5EF4-FFF2-40B4-BE49-F238E27FC236}">
                <a16:creationId xmlns:a16="http://schemas.microsoft.com/office/drawing/2014/main" id="{4B356229-AD36-487B-8D07-09FBC6412C1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9060823-4164-446A-98CD-227BA492827F}"/>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38343416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DC3C6-D26A-40CE-A22E-B4083A55E8B3}"/>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013BFDB-B6D7-401B-A754-DAF8057D9C04}"/>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0C1760F-1901-40F3-B418-219B01C4936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13692DD-BC7D-4A25-AE16-066E267C3580}"/>
              </a:ext>
            </a:extLst>
          </p:cNvPr>
          <p:cNvSpPr>
            <a:spLocks noGrp="1"/>
          </p:cNvSpPr>
          <p:nvPr>
            <p:ph type="dt" sz="half" idx="10"/>
          </p:nvPr>
        </p:nvSpPr>
        <p:spPr>
          <a:xfrm>
            <a:off x="838200" y="6356350"/>
            <a:ext cx="2743200" cy="365125"/>
          </a:xfrm>
          <a:prstGeom prst="rect">
            <a:avLst/>
          </a:prstGeom>
        </p:spPr>
        <p:txBody>
          <a:bodyPr/>
          <a:lstStyle/>
          <a:p>
            <a:fld id="{E0CE3DF2-49EA-463C-A7C1-9C2709964349}" type="datetime1">
              <a:rPr lang="en-US" smtClean="0"/>
              <a:t>6/27/2024</a:t>
            </a:fld>
            <a:endParaRPr lang="en-US"/>
          </a:p>
        </p:txBody>
      </p:sp>
      <p:sp>
        <p:nvSpPr>
          <p:cNvPr id="6" name="Footer Placeholder 5">
            <a:extLst>
              <a:ext uri="{FF2B5EF4-FFF2-40B4-BE49-F238E27FC236}">
                <a16:creationId xmlns:a16="http://schemas.microsoft.com/office/drawing/2014/main" id="{B8C82940-E4CA-42A6-A25B-7C350028B74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2AC148F-2B42-4C92-AC60-785BC51831FE}"/>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2228731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9E111E-A5CF-E247-4B65-8C5D625B481C}"/>
              </a:ext>
            </a:extLst>
          </p:cNvPr>
          <p:cNvGraphicFramePr>
            <a:graphicFrameLocks noChangeAspect="1"/>
          </p:cNvGraphicFramePr>
          <p:nvPr userDrawn="1">
            <p:custDataLst>
              <p:tags r:id="rId13"/>
            </p:custDataLst>
            <p:extLst>
              <p:ext uri="{D42A27DB-BD31-4B8C-83A1-F6EECF244321}">
                <p14:modId xmlns:p14="http://schemas.microsoft.com/office/powerpoint/2010/main" val="3731582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3" imgH="423" progId="TCLayout.ActiveDocument.1">
                  <p:embed/>
                </p:oleObj>
              </mc:Choice>
              <mc:Fallback>
                <p:oleObj name="think-cell Slide" r:id="rId14" imgW="423" imgH="423" progId="TCLayout.ActiveDocument.1">
                  <p:embed/>
                  <p:pic>
                    <p:nvPicPr>
                      <p:cNvPr id="8" name="Object 7" hidden="1">
                        <a:extLst>
                          <a:ext uri="{FF2B5EF4-FFF2-40B4-BE49-F238E27FC236}">
                            <a16:creationId xmlns:a16="http://schemas.microsoft.com/office/drawing/2014/main" id="{9E9E111E-A5CF-E247-4B65-8C5D625B48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72875AA-EFB1-43FE-BF2F-308D9E3D36D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0385DBE-CDBF-427B-B152-487151AA6B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FD7368-8E39-420E-A2F4-E574D7A9FC3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7FC794-BDB4-41B6-9445-337D103CE3C9}" type="datetime1">
              <a:rPr lang="en-US" smtClean="0"/>
              <a:t>6/27/2024</a:t>
            </a:fld>
            <a:endParaRPr lang="en-US"/>
          </a:p>
        </p:txBody>
      </p:sp>
      <p:sp>
        <p:nvSpPr>
          <p:cNvPr id="5" name="Footer Placeholder 4">
            <a:extLst>
              <a:ext uri="{FF2B5EF4-FFF2-40B4-BE49-F238E27FC236}">
                <a16:creationId xmlns:a16="http://schemas.microsoft.com/office/drawing/2014/main" id="{BE462C76-55E2-4AD3-A5F7-8495E851C04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F9D12F7C-C88D-4230-B7DB-06390EB6E4F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0B1108-123B-4852-BC07-BFE10A5179C7}" type="slidenum">
              <a:rPr lang="en-US" smtClean="0"/>
              <a:t>‹#›</a:t>
            </a:fld>
            <a:endParaRPr lang="en-US"/>
          </a:p>
        </p:txBody>
      </p:sp>
    </p:spTree>
    <p:extLst>
      <p:ext uri="{BB962C8B-B14F-4D97-AF65-F5344CB8AC3E}">
        <p14:creationId xmlns:p14="http://schemas.microsoft.com/office/powerpoint/2010/main" val="103016570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8.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9.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10.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5" Type="http://schemas.openxmlformats.org/officeDocument/2006/relationships/image" Target="../media/image11.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12.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13.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14.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15.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16.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17.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4.xml"/><Relationship Id="rId5" Type="http://schemas.openxmlformats.org/officeDocument/2006/relationships/image" Target="../media/image18.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5.xml"/><Relationship Id="rId5" Type="http://schemas.openxmlformats.org/officeDocument/2006/relationships/image" Target="../media/image19.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7.xml"/><Relationship Id="rId5" Type="http://schemas.openxmlformats.org/officeDocument/2006/relationships/image" Target="../media/image20.pn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image" Target="../media/image21.pn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29.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22.png"/><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1.xml"/><Relationship Id="rId5" Type="http://schemas.openxmlformats.org/officeDocument/2006/relationships/image" Target="../media/image23.pn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4.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3.xml"/><Relationship Id="rId5" Type="http://schemas.openxmlformats.org/officeDocument/2006/relationships/image" Target="../media/image24.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25.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5.xml"/><Relationship Id="rId5" Type="http://schemas.openxmlformats.org/officeDocument/2006/relationships/image" Target="../media/image26.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6.xml"/><Relationship Id="rId5" Type="http://schemas.openxmlformats.org/officeDocument/2006/relationships/image" Target="../media/image27.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7.xml"/><Relationship Id="rId5" Type="http://schemas.openxmlformats.org/officeDocument/2006/relationships/image" Target="../media/image28.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39.xml"/><Relationship Id="rId5" Type="http://schemas.openxmlformats.org/officeDocument/2006/relationships/image" Target="../media/image29.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40.xml"/><Relationship Id="rId5" Type="http://schemas.openxmlformats.org/officeDocument/2006/relationships/image" Target="../media/image30.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41.xml"/><Relationship Id="rId5" Type="http://schemas.openxmlformats.org/officeDocument/2006/relationships/image" Target="../media/image31.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42.xml"/><Relationship Id="rId5" Type="http://schemas.openxmlformats.org/officeDocument/2006/relationships/image" Target="../media/image32.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43.xml"/><Relationship Id="rId5" Type="http://schemas.openxmlformats.org/officeDocument/2006/relationships/image" Target="../media/image33.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44.xml"/><Relationship Id="rId5" Type="http://schemas.openxmlformats.org/officeDocument/2006/relationships/image" Target="../media/image34.png"/><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45.xml"/><Relationship Id="rId5" Type="http://schemas.openxmlformats.org/officeDocument/2006/relationships/image" Target="../media/image35.png"/><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46.xml"/><Relationship Id="rId5" Type="http://schemas.openxmlformats.org/officeDocument/2006/relationships/image" Target="../media/image36.pn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47.xml"/><Relationship Id="rId5" Type="http://schemas.openxmlformats.org/officeDocument/2006/relationships/image" Target="../media/image37.pn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48.xml"/><Relationship Id="rId5" Type="http://schemas.openxmlformats.org/officeDocument/2006/relationships/image" Target="../media/image38.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7.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8.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2579351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Overall Functionalities Access</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a:t>
            </a:fld>
            <a:endParaRPr lang="en-US" dirty="0"/>
          </a:p>
        </p:txBody>
      </p:sp>
      <p:graphicFrame>
        <p:nvGraphicFramePr>
          <p:cNvPr id="11" name="Table 11">
            <a:extLst>
              <a:ext uri="{FF2B5EF4-FFF2-40B4-BE49-F238E27FC236}">
                <a16:creationId xmlns:a16="http://schemas.microsoft.com/office/drawing/2014/main" id="{B93DA08B-97F0-D0B6-FC40-4E9A1DC70A8A}"/>
              </a:ext>
            </a:extLst>
          </p:cNvPr>
          <p:cNvGraphicFramePr>
            <a:graphicFrameLocks noGrp="1"/>
          </p:cNvGraphicFramePr>
          <p:nvPr>
            <p:extLst>
              <p:ext uri="{D42A27DB-BD31-4B8C-83A1-F6EECF244321}">
                <p14:modId xmlns:p14="http://schemas.microsoft.com/office/powerpoint/2010/main" val="2923991381"/>
              </p:ext>
            </p:extLst>
          </p:nvPr>
        </p:nvGraphicFramePr>
        <p:xfrm>
          <a:off x="774192" y="2063834"/>
          <a:ext cx="10515600" cy="2966720"/>
        </p:xfrm>
        <a:graphic>
          <a:graphicData uri="http://schemas.openxmlformats.org/drawingml/2006/table">
            <a:tbl>
              <a:tblPr firstRow="1" bandRow="1">
                <a:tableStyleId>{5C22544A-7EE6-4342-B048-85BDC9FD1C3A}</a:tableStyleId>
              </a:tblPr>
              <a:tblGrid>
                <a:gridCol w="3272875">
                  <a:extLst>
                    <a:ext uri="{9D8B030D-6E8A-4147-A177-3AD203B41FA5}">
                      <a16:colId xmlns:a16="http://schemas.microsoft.com/office/drawing/2014/main" val="1005030058"/>
                    </a:ext>
                  </a:extLst>
                </a:gridCol>
                <a:gridCol w="2446866">
                  <a:extLst>
                    <a:ext uri="{9D8B030D-6E8A-4147-A177-3AD203B41FA5}">
                      <a16:colId xmlns:a16="http://schemas.microsoft.com/office/drawing/2014/main" val="1534283256"/>
                    </a:ext>
                  </a:extLst>
                </a:gridCol>
                <a:gridCol w="2463800">
                  <a:extLst>
                    <a:ext uri="{9D8B030D-6E8A-4147-A177-3AD203B41FA5}">
                      <a16:colId xmlns:a16="http://schemas.microsoft.com/office/drawing/2014/main" val="4083795165"/>
                    </a:ext>
                  </a:extLst>
                </a:gridCol>
                <a:gridCol w="2332059">
                  <a:extLst>
                    <a:ext uri="{9D8B030D-6E8A-4147-A177-3AD203B41FA5}">
                      <a16:colId xmlns:a16="http://schemas.microsoft.com/office/drawing/2014/main" val="1317543352"/>
                    </a:ext>
                  </a:extLst>
                </a:gridCol>
              </a:tblGrid>
              <a:tr h="370840">
                <a:tc>
                  <a:txBody>
                    <a:bodyPr/>
                    <a:lstStyle/>
                    <a:p>
                      <a:endParaRPr lang="en-US" dirty="0">
                        <a:latin typeface="Montserrat" panose="00000500000000000000" pitchFamily="2" charset="0"/>
                      </a:endParaRPr>
                    </a:p>
                  </a:txBody>
                  <a:tcPr>
                    <a:solidFill>
                      <a:srgbClr val="152847"/>
                    </a:solidFill>
                  </a:tcPr>
                </a:tc>
                <a:tc>
                  <a:txBody>
                    <a:bodyPr/>
                    <a:lstStyle/>
                    <a:p>
                      <a:pPr algn="ctr"/>
                      <a:r>
                        <a:rPr lang="en-US" dirty="0">
                          <a:latin typeface="Montserrat" panose="00000500000000000000" pitchFamily="2" charset="0"/>
                        </a:rPr>
                        <a:t>SMEs</a:t>
                      </a:r>
                    </a:p>
                  </a:txBody>
                  <a:tcPr>
                    <a:solidFill>
                      <a:srgbClr val="152847"/>
                    </a:solidFill>
                  </a:tcPr>
                </a:tc>
                <a:tc>
                  <a:txBody>
                    <a:bodyPr/>
                    <a:lstStyle/>
                    <a:p>
                      <a:pPr algn="ctr"/>
                      <a:r>
                        <a:rPr lang="en-US" dirty="0">
                          <a:latin typeface="Montserrat" panose="00000500000000000000" pitchFamily="2" charset="0"/>
                        </a:rPr>
                        <a:t>Suppliers</a:t>
                      </a:r>
                    </a:p>
                  </a:txBody>
                  <a:tcPr>
                    <a:solidFill>
                      <a:srgbClr val="152847"/>
                    </a:solidFill>
                  </a:tcPr>
                </a:tc>
                <a:tc>
                  <a:txBody>
                    <a:bodyPr/>
                    <a:lstStyle/>
                    <a:p>
                      <a:pPr algn="ctr"/>
                      <a:r>
                        <a:rPr lang="en-US" dirty="0">
                          <a:latin typeface="Montserrat" panose="00000500000000000000" pitchFamily="2" charset="0"/>
                        </a:rPr>
                        <a:t>Administrator</a:t>
                      </a:r>
                    </a:p>
                  </a:txBody>
                  <a:tcPr>
                    <a:solidFill>
                      <a:srgbClr val="152847"/>
                    </a:solidFill>
                  </a:tcPr>
                </a:tc>
                <a:extLst>
                  <a:ext uri="{0D108BD9-81ED-4DB2-BD59-A6C34878D82A}">
                    <a16:rowId xmlns:a16="http://schemas.microsoft.com/office/drawing/2014/main" val="27725541"/>
                  </a:ext>
                </a:extLst>
              </a:tr>
              <a:tr h="370840">
                <a:tc>
                  <a:txBody>
                    <a:bodyPr/>
                    <a:lstStyle/>
                    <a:p>
                      <a:r>
                        <a:rPr lang="en-US" dirty="0">
                          <a:latin typeface="Montserrat" panose="00000500000000000000" pitchFamily="2" charset="0"/>
                        </a:rPr>
                        <a:t>Add/delete Supplier</a:t>
                      </a:r>
                    </a:p>
                  </a:txBody>
                  <a:tcPr/>
                </a:tc>
                <a:tc>
                  <a:txBody>
                    <a:bodyPr/>
                    <a:lstStyle/>
                    <a:p>
                      <a:pPr algn="ctr"/>
                      <a:endParaRPr lang="en-US" dirty="0">
                        <a:latin typeface="Montserrat" panose="00000500000000000000" pitchFamily="2" charset="0"/>
                      </a:endParaRPr>
                    </a:p>
                  </a:txBody>
                  <a:tcPr/>
                </a:tc>
                <a:tc>
                  <a:txBody>
                    <a:bodyPr/>
                    <a:lstStyle/>
                    <a:p>
                      <a:pPr algn="ctr"/>
                      <a:endParaRPr lang="en-US" dirty="0">
                        <a:latin typeface="Montserrat" panose="00000500000000000000" pitchFamily="2" charset="0"/>
                      </a:endParaRPr>
                    </a:p>
                  </a:txBody>
                  <a:tcPr/>
                </a:tc>
                <a:tc>
                  <a:txBody>
                    <a:bodyPr/>
                    <a:lstStyle/>
                    <a:p>
                      <a:pPr algn="ctr"/>
                      <a:r>
                        <a:rPr lang="en-US" dirty="0">
                          <a:latin typeface="Montserrat" panose="00000500000000000000" pitchFamily="2" charset="0"/>
                        </a:rPr>
                        <a:t>X</a:t>
                      </a:r>
                    </a:p>
                  </a:txBody>
                  <a:tcPr/>
                </a:tc>
                <a:extLst>
                  <a:ext uri="{0D108BD9-81ED-4DB2-BD59-A6C34878D82A}">
                    <a16:rowId xmlns:a16="http://schemas.microsoft.com/office/drawing/2014/main" val="3322501816"/>
                  </a:ext>
                </a:extLst>
              </a:tr>
              <a:tr h="370840">
                <a:tc>
                  <a:txBody>
                    <a:bodyPr/>
                    <a:lstStyle/>
                    <a:p>
                      <a:r>
                        <a:rPr lang="en-US" dirty="0">
                          <a:latin typeface="Montserrat" panose="00000500000000000000" pitchFamily="2" charset="0"/>
                        </a:rPr>
                        <a:t>Add/delete Solutions</a:t>
                      </a:r>
                    </a:p>
                  </a:txBody>
                  <a:tcPr/>
                </a:tc>
                <a:tc>
                  <a:txBody>
                    <a:bodyPr/>
                    <a:lstStyle/>
                    <a:p>
                      <a:pPr algn="ctr"/>
                      <a:endParaRPr lang="en-US">
                        <a:latin typeface="Montserrat" panose="00000500000000000000" pitchFamily="2" charset="0"/>
                      </a:endParaRPr>
                    </a:p>
                  </a:txBody>
                  <a:tcPr/>
                </a:tc>
                <a:tc>
                  <a:txBody>
                    <a:bodyPr/>
                    <a:lstStyle/>
                    <a:p>
                      <a:pPr algn="ctr"/>
                      <a:r>
                        <a:rPr lang="en-US" dirty="0">
                          <a:latin typeface="Montserrat" panose="00000500000000000000" pitchFamily="2" charset="0"/>
                        </a:rPr>
                        <a:t>X</a:t>
                      </a:r>
                    </a:p>
                  </a:txBody>
                  <a:tcPr/>
                </a:tc>
                <a:tc>
                  <a:txBody>
                    <a:bodyPr/>
                    <a:lstStyle/>
                    <a:p>
                      <a:pPr algn="ctr"/>
                      <a:r>
                        <a:rPr lang="en-US" dirty="0">
                          <a:latin typeface="Montserrat" panose="00000500000000000000" pitchFamily="2" charset="0"/>
                        </a:rPr>
                        <a:t>X</a:t>
                      </a:r>
                    </a:p>
                  </a:txBody>
                  <a:tcPr/>
                </a:tc>
                <a:extLst>
                  <a:ext uri="{0D108BD9-81ED-4DB2-BD59-A6C34878D82A}">
                    <a16:rowId xmlns:a16="http://schemas.microsoft.com/office/drawing/2014/main" val="3432671262"/>
                  </a:ext>
                </a:extLst>
              </a:tr>
              <a:tr h="370840">
                <a:tc>
                  <a:txBody>
                    <a:bodyPr/>
                    <a:lstStyle/>
                    <a:p>
                      <a:r>
                        <a:rPr lang="en-US" dirty="0">
                          <a:latin typeface="Montserrat" panose="00000500000000000000" pitchFamily="2" charset="0"/>
                        </a:rPr>
                        <a:t>Add/delete Skills</a:t>
                      </a:r>
                    </a:p>
                  </a:txBody>
                  <a:tcPr/>
                </a:tc>
                <a:tc>
                  <a:txBody>
                    <a:bodyPr/>
                    <a:lstStyle/>
                    <a:p>
                      <a:pPr algn="ctr"/>
                      <a:endParaRPr lang="en-US">
                        <a:latin typeface="Montserrat" panose="00000500000000000000" pitchFamily="2" charset="0"/>
                      </a:endParaRPr>
                    </a:p>
                  </a:txBody>
                  <a:tcPr/>
                </a:tc>
                <a:tc>
                  <a:txBody>
                    <a:bodyPr/>
                    <a:lstStyle/>
                    <a:p>
                      <a:pPr algn="ctr"/>
                      <a:endParaRPr lang="en-US" dirty="0">
                        <a:latin typeface="Montserrat" panose="00000500000000000000" pitchFamily="2" charset="0"/>
                      </a:endParaRPr>
                    </a:p>
                  </a:txBody>
                  <a:tcPr/>
                </a:tc>
                <a:tc>
                  <a:txBody>
                    <a:bodyPr/>
                    <a:lstStyle/>
                    <a:p>
                      <a:pPr algn="ctr"/>
                      <a:r>
                        <a:rPr lang="en-US" dirty="0">
                          <a:latin typeface="Montserrat" panose="00000500000000000000" pitchFamily="2" charset="0"/>
                        </a:rPr>
                        <a:t>X</a:t>
                      </a:r>
                    </a:p>
                  </a:txBody>
                  <a:tcPr/>
                </a:tc>
                <a:extLst>
                  <a:ext uri="{0D108BD9-81ED-4DB2-BD59-A6C34878D82A}">
                    <a16:rowId xmlns:a16="http://schemas.microsoft.com/office/drawing/2014/main" val="3204128046"/>
                  </a:ext>
                </a:extLst>
              </a:tr>
              <a:tr h="370840">
                <a:tc>
                  <a:txBody>
                    <a:bodyPr/>
                    <a:lstStyle/>
                    <a:p>
                      <a:r>
                        <a:rPr lang="en-US" dirty="0">
                          <a:latin typeface="Montserrat" panose="00000500000000000000" pitchFamily="2" charset="0"/>
                        </a:rPr>
                        <a:t>Add/delete Tags</a:t>
                      </a:r>
                    </a:p>
                  </a:txBody>
                  <a:tcPr/>
                </a:tc>
                <a:tc>
                  <a:txBody>
                    <a:bodyPr/>
                    <a:lstStyle/>
                    <a:p>
                      <a:pPr algn="ctr"/>
                      <a:endParaRPr lang="en-US">
                        <a:latin typeface="Montserrat" panose="00000500000000000000" pitchFamily="2" charset="0"/>
                      </a:endParaRPr>
                    </a:p>
                  </a:txBody>
                  <a:tcPr/>
                </a:tc>
                <a:tc>
                  <a:txBody>
                    <a:bodyPr/>
                    <a:lstStyle/>
                    <a:p>
                      <a:pPr algn="ctr"/>
                      <a:endParaRPr lang="en-US" dirty="0">
                        <a:latin typeface="Montserrat" panose="00000500000000000000" pitchFamily="2" charset="0"/>
                      </a:endParaRPr>
                    </a:p>
                  </a:txBody>
                  <a:tcPr/>
                </a:tc>
                <a:tc>
                  <a:txBody>
                    <a:bodyPr/>
                    <a:lstStyle/>
                    <a:p>
                      <a:pPr algn="ctr"/>
                      <a:r>
                        <a:rPr lang="en-US" dirty="0">
                          <a:latin typeface="Montserrat" panose="00000500000000000000" pitchFamily="2" charset="0"/>
                        </a:rPr>
                        <a:t>X</a:t>
                      </a:r>
                    </a:p>
                  </a:txBody>
                  <a:tcPr/>
                </a:tc>
                <a:extLst>
                  <a:ext uri="{0D108BD9-81ED-4DB2-BD59-A6C34878D82A}">
                    <a16:rowId xmlns:a16="http://schemas.microsoft.com/office/drawing/2014/main" val="3181418883"/>
                  </a:ext>
                </a:extLst>
              </a:tr>
              <a:tr h="370840">
                <a:tc>
                  <a:txBody>
                    <a:bodyPr/>
                    <a:lstStyle/>
                    <a:p>
                      <a:r>
                        <a:rPr lang="en-US" dirty="0">
                          <a:latin typeface="Montserrat" panose="00000500000000000000" pitchFamily="2" charset="0"/>
                        </a:rPr>
                        <a:t>Add/delete Functionalities</a:t>
                      </a:r>
                    </a:p>
                  </a:txBody>
                  <a:tcPr/>
                </a:tc>
                <a:tc>
                  <a:txBody>
                    <a:bodyPr/>
                    <a:lstStyle/>
                    <a:p>
                      <a:pPr algn="ctr"/>
                      <a:endParaRPr lang="en-US">
                        <a:latin typeface="Montserrat" panose="00000500000000000000" pitchFamily="2" charset="0"/>
                      </a:endParaRPr>
                    </a:p>
                  </a:txBody>
                  <a:tcPr/>
                </a:tc>
                <a:tc>
                  <a:txBody>
                    <a:bodyPr/>
                    <a:lstStyle/>
                    <a:p>
                      <a:pPr algn="ctr"/>
                      <a:endParaRPr lang="en-US" dirty="0">
                        <a:latin typeface="Montserrat" panose="00000500000000000000" pitchFamily="2" charset="0"/>
                      </a:endParaRPr>
                    </a:p>
                  </a:txBody>
                  <a:tcPr/>
                </a:tc>
                <a:tc>
                  <a:txBody>
                    <a:bodyPr/>
                    <a:lstStyle/>
                    <a:p>
                      <a:pPr algn="ctr"/>
                      <a:endParaRPr lang="en-US" dirty="0">
                        <a:latin typeface="Montserrat" panose="00000500000000000000" pitchFamily="2" charset="0"/>
                      </a:endParaRPr>
                    </a:p>
                  </a:txBody>
                  <a:tcPr/>
                </a:tc>
                <a:extLst>
                  <a:ext uri="{0D108BD9-81ED-4DB2-BD59-A6C34878D82A}">
                    <a16:rowId xmlns:a16="http://schemas.microsoft.com/office/drawing/2014/main" val="3013901818"/>
                  </a:ext>
                </a:extLst>
              </a:tr>
              <a:tr h="370840">
                <a:tc>
                  <a:txBody>
                    <a:bodyPr/>
                    <a:lstStyle/>
                    <a:p>
                      <a:r>
                        <a:rPr lang="en-US" dirty="0">
                          <a:latin typeface="Montserrat" panose="00000500000000000000" pitchFamily="2" charset="0"/>
                        </a:rPr>
                        <a:t>Add/delete SMEs</a:t>
                      </a:r>
                    </a:p>
                  </a:txBody>
                  <a:tcPr/>
                </a:tc>
                <a:tc>
                  <a:txBody>
                    <a:bodyPr/>
                    <a:lstStyle/>
                    <a:p>
                      <a:pPr algn="ctr"/>
                      <a:endParaRPr lang="en-US" dirty="0">
                        <a:latin typeface="Montserrat" panose="00000500000000000000" pitchFamily="2" charset="0"/>
                      </a:endParaRPr>
                    </a:p>
                  </a:txBody>
                  <a:tcPr/>
                </a:tc>
                <a:tc>
                  <a:txBody>
                    <a:bodyPr/>
                    <a:lstStyle/>
                    <a:p>
                      <a:pPr algn="ctr"/>
                      <a:endParaRPr lang="en-US" dirty="0">
                        <a:latin typeface="Montserrat" panose="00000500000000000000" pitchFamily="2" charset="0"/>
                      </a:endParaRPr>
                    </a:p>
                  </a:txBody>
                  <a:tcPr/>
                </a:tc>
                <a:tc>
                  <a:txBody>
                    <a:bodyPr/>
                    <a:lstStyle/>
                    <a:p>
                      <a:pPr algn="ctr"/>
                      <a:r>
                        <a:rPr lang="en-US" dirty="0">
                          <a:latin typeface="Montserrat" panose="00000500000000000000" pitchFamily="2" charset="0"/>
                        </a:rPr>
                        <a:t>X</a:t>
                      </a:r>
                    </a:p>
                  </a:txBody>
                  <a:tcPr/>
                </a:tc>
                <a:extLst>
                  <a:ext uri="{0D108BD9-81ED-4DB2-BD59-A6C34878D82A}">
                    <a16:rowId xmlns:a16="http://schemas.microsoft.com/office/drawing/2014/main" val="651189731"/>
                  </a:ext>
                </a:extLst>
              </a:tr>
              <a:tr h="370840">
                <a:tc>
                  <a:txBody>
                    <a:bodyPr/>
                    <a:lstStyle/>
                    <a:p>
                      <a:r>
                        <a:rPr lang="en-US" dirty="0">
                          <a:latin typeface="Montserrat" panose="00000500000000000000" pitchFamily="2" charset="0"/>
                        </a:rPr>
                        <a:t>Add/delete Searches</a:t>
                      </a:r>
                    </a:p>
                  </a:txBody>
                  <a:tcPr/>
                </a:tc>
                <a:tc>
                  <a:txBody>
                    <a:bodyPr/>
                    <a:lstStyle/>
                    <a:p>
                      <a:pPr algn="ctr"/>
                      <a:r>
                        <a:rPr lang="en-US" dirty="0">
                          <a:latin typeface="Montserrat" panose="00000500000000000000" pitchFamily="2" charset="0"/>
                        </a:rPr>
                        <a:t>X</a:t>
                      </a:r>
                    </a:p>
                  </a:txBody>
                  <a:tcPr/>
                </a:tc>
                <a:tc>
                  <a:txBody>
                    <a:bodyPr/>
                    <a:lstStyle/>
                    <a:p>
                      <a:pPr algn="ctr"/>
                      <a:endParaRPr lang="en-US" dirty="0">
                        <a:latin typeface="Montserrat" panose="00000500000000000000" pitchFamily="2" charset="0"/>
                      </a:endParaRPr>
                    </a:p>
                  </a:txBody>
                  <a:tcPr/>
                </a:tc>
                <a:tc>
                  <a:txBody>
                    <a:bodyPr/>
                    <a:lstStyle/>
                    <a:p>
                      <a:pPr algn="ctr"/>
                      <a:r>
                        <a:rPr lang="en-US" dirty="0">
                          <a:latin typeface="Montserrat" panose="00000500000000000000" pitchFamily="2" charset="0"/>
                        </a:rPr>
                        <a:t>X</a:t>
                      </a:r>
                    </a:p>
                  </a:txBody>
                  <a:tcPr/>
                </a:tc>
                <a:extLst>
                  <a:ext uri="{0D108BD9-81ED-4DB2-BD59-A6C34878D82A}">
                    <a16:rowId xmlns:a16="http://schemas.microsoft.com/office/drawing/2014/main" val="713766807"/>
                  </a:ext>
                </a:extLst>
              </a:tr>
            </a:tbl>
          </a:graphicData>
        </a:graphic>
      </p:graphicFrame>
    </p:spTree>
    <p:extLst>
      <p:ext uri="{BB962C8B-B14F-4D97-AF65-F5344CB8AC3E}">
        <p14:creationId xmlns:p14="http://schemas.microsoft.com/office/powerpoint/2010/main" val="30743572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A158403-20EF-C8FF-E6EA-6AFC62DA49A2}"/>
              </a:ext>
            </a:extLst>
          </p:cNvPr>
          <p:cNvPicPr>
            <a:picLocks noChangeAspect="1"/>
          </p:cNvPicPr>
          <p:nvPr/>
        </p:nvPicPr>
        <p:blipFill>
          <a:blip r:embed="rId5"/>
          <a:stretch>
            <a:fillRect/>
          </a:stretch>
        </p:blipFill>
        <p:spPr>
          <a:xfrm>
            <a:off x="1719018" y="1619468"/>
            <a:ext cx="8373323"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0</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847089" y="4681727"/>
            <a:ext cx="7909559" cy="475489"/>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CED41CC1-80ED-C112-F7C8-D3094614299F}"/>
              </a:ext>
            </a:extLst>
          </p:cNvPr>
          <p:cNvSpPr txBox="1"/>
          <p:nvPr/>
        </p:nvSpPr>
        <p:spPr>
          <a:xfrm>
            <a:off x="5413573" y="1823278"/>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Fill in the skills required to use and configure from the pre-defined list</a:t>
            </a:r>
          </a:p>
        </p:txBody>
      </p:sp>
    </p:spTree>
    <p:extLst>
      <p:ext uri="{BB962C8B-B14F-4D97-AF65-F5344CB8AC3E}">
        <p14:creationId xmlns:p14="http://schemas.microsoft.com/office/powerpoint/2010/main" val="23134470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1792005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F3AF0D96-C025-0EAD-0973-2D3F815E8C35}"/>
              </a:ext>
            </a:extLst>
          </p:cNvPr>
          <p:cNvPicPr>
            <a:picLocks noChangeAspect="1"/>
          </p:cNvPicPr>
          <p:nvPr/>
        </p:nvPicPr>
        <p:blipFill>
          <a:blip r:embed="rId5"/>
          <a:stretch>
            <a:fillRect/>
          </a:stretch>
        </p:blipFill>
        <p:spPr>
          <a:xfrm>
            <a:off x="1638247" y="1949737"/>
            <a:ext cx="9270545" cy="3625463"/>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1</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638247" y="2367720"/>
            <a:ext cx="7909559" cy="475489"/>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CED41CC1-80ED-C112-F7C8-D3094614299F}"/>
              </a:ext>
            </a:extLst>
          </p:cNvPr>
          <p:cNvSpPr txBox="1"/>
          <p:nvPr/>
        </p:nvSpPr>
        <p:spPr>
          <a:xfrm>
            <a:off x="6876613" y="1027750"/>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First, select the tag or tags that best describe your solution</a:t>
            </a:r>
          </a:p>
        </p:txBody>
      </p:sp>
      <p:sp>
        <p:nvSpPr>
          <p:cNvPr id="10" name="TextBox 9">
            <a:extLst>
              <a:ext uri="{FF2B5EF4-FFF2-40B4-BE49-F238E27FC236}">
                <a16:creationId xmlns:a16="http://schemas.microsoft.com/office/drawing/2014/main" id="{8EFFE085-E2C9-8272-BF86-4B5FBEA35846}"/>
              </a:ext>
            </a:extLst>
          </p:cNvPr>
          <p:cNvSpPr txBox="1"/>
          <p:nvPr/>
        </p:nvSpPr>
        <p:spPr>
          <a:xfrm>
            <a:off x="7703873" y="4014792"/>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Then click on “Add a line” to add all the pre-defined functionalities that the solution achieves</a:t>
            </a:r>
          </a:p>
        </p:txBody>
      </p:sp>
      <p:sp>
        <p:nvSpPr>
          <p:cNvPr id="11" name="Rectangle 10">
            <a:extLst>
              <a:ext uri="{FF2B5EF4-FFF2-40B4-BE49-F238E27FC236}">
                <a16:creationId xmlns:a16="http://schemas.microsoft.com/office/drawing/2014/main" id="{253F5CF1-BC2B-9660-A013-3C4B4C9F4915}"/>
              </a:ext>
            </a:extLst>
          </p:cNvPr>
          <p:cNvSpPr/>
          <p:nvPr/>
        </p:nvSpPr>
        <p:spPr>
          <a:xfrm>
            <a:off x="1735783" y="3345146"/>
            <a:ext cx="7909559" cy="475489"/>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94898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318285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B8E4AFED-2CF4-83B7-3422-33AB232301F9}"/>
              </a:ext>
            </a:extLst>
          </p:cNvPr>
          <p:cNvPicPr>
            <a:picLocks noChangeAspect="1"/>
          </p:cNvPicPr>
          <p:nvPr/>
        </p:nvPicPr>
        <p:blipFill>
          <a:blip r:embed="rId5"/>
          <a:stretch>
            <a:fillRect/>
          </a:stretch>
        </p:blipFill>
        <p:spPr>
          <a:xfrm>
            <a:off x="1517903" y="1960551"/>
            <a:ext cx="9390889" cy="2152185"/>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2</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17903" y="2367720"/>
            <a:ext cx="8029903" cy="1647072"/>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7685585" y="3790389"/>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Input all the cost information</a:t>
            </a:r>
          </a:p>
        </p:txBody>
      </p:sp>
    </p:spTree>
    <p:extLst>
      <p:ext uri="{BB962C8B-B14F-4D97-AF65-F5344CB8AC3E}">
        <p14:creationId xmlns:p14="http://schemas.microsoft.com/office/powerpoint/2010/main" val="21719245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911886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8BEE0B19-2C7F-7433-4DC2-47B18833D349}"/>
              </a:ext>
            </a:extLst>
          </p:cNvPr>
          <p:cNvPicPr>
            <a:picLocks noChangeAspect="1"/>
          </p:cNvPicPr>
          <p:nvPr/>
        </p:nvPicPr>
        <p:blipFill>
          <a:blip r:embed="rId5"/>
          <a:stretch>
            <a:fillRect/>
          </a:stretch>
        </p:blipFill>
        <p:spPr>
          <a:xfrm>
            <a:off x="1517903" y="2530429"/>
            <a:ext cx="9017562" cy="138996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3</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17903" y="2907792"/>
            <a:ext cx="8613649" cy="777240"/>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7685585" y="3790389"/>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nswer the User friendliness questions.</a:t>
            </a:r>
          </a:p>
        </p:txBody>
      </p:sp>
    </p:spTree>
    <p:extLst>
      <p:ext uri="{BB962C8B-B14F-4D97-AF65-F5344CB8AC3E}">
        <p14:creationId xmlns:p14="http://schemas.microsoft.com/office/powerpoint/2010/main" val="29116598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3348998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F5C3B26-2E71-0052-BD1A-C386C6212776}"/>
              </a:ext>
            </a:extLst>
          </p:cNvPr>
          <p:cNvPicPr>
            <a:picLocks noChangeAspect="1"/>
          </p:cNvPicPr>
          <p:nvPr/>
        </p:nvPicPr>
        <p:blipFill>
          <a:blip r:embed="rId5"/>
          <a:stretch>
            <a:fillRect/>
          </a:stretch>
        </p:blipFill>
        <p:spPr>
          <a:xfrm>
            <a:off x="1594441" y="2514600"/>
            <a:ext cx="8537112" cy="1250689"/>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4</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17903" y="2907792"/>
            <a:ext cx="8613649" cy="685800"/>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7685585" y="3790389"/>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Indicate type of deployment</a:t>
            </a:r>
          </a:p>
        </p:txBody>
      </p:sp>
    </p:spTree>
    <p:extLst>
      <p:ext uri="{BB962C8B-B14F-4D97-AF65-F5344CB8AC3E}">
        <p14:creationId xmlns:p14="http://schemas.microsoft.com/office/powerpoint/2010/main" val="13073799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2517864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DB7227F1-02F7-E762-2638-D2B89A628D7C}"/>
              </a:ext>
            </a:extLst>
          </p:cNvPr>
          <p:cNvPicPr>
            <a:picLocks noChangeAspect="1"/>
          </p:cNvPicPr>
          <p:nvPr/>
        </p:nvPicPr>
        <p:blipFill>
          <a:blip r:embed="rId5"/>
          <a:stretch>
            <a:fillRect/>
          </a:stretch>
        </p:blipFill>
        <p:spPr>
          <a:xfrm>
            <a:off x="1517903" y="2592446"/>
            <a:ext cx="8613649" cy="1094996"/>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5</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17903" y="2907792"/>
            <a:ext cx="8613649" cy="685800"/>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7685585" y="3790389"/>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nswer all the training questions</a:t>
            </a:r>
          </a:p>
        </p:txBody>
      </p:sp>
    </p:spTree>
    <p:extLst>
      <p:ext uri="{BB962C8B-B14F-4D97-AF65-F5344CB8AC3E}">
        <p14:creationId xmlns:p14="http://schemas.microsoft.com/office/powerpoint/2010/main" val="27014214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2142654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1B39756-DA18-9BEC-8B19-BBC0FD49908C}"/>
              </a:ext>
            </a:extLst>
          </p:cNvPr>
          <p:cNvPicPr>
            <a:picLocks noChangeAspect="1"/>
          </p:cNvPicPr>
          <p:nvPr/>
        </p:nvPicPr>
        <p:blipFill>
          <a:blip r:embed="rId5"/>
          <a:stretch>
            <a:fillRect/>
          </a:stretch>
        </p:blipFill>
        <p:spPr>
          <a:xfrm>
            <a:off x="1517902" y="2592446"/>
            <a:ext cx="8613649" cy="1656289"/>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6</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17903" y="2907791"/>
            <a:ext cx="8613649" cy="1340943"/>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8298233" y="3792945"/>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nswer all the testing questions</a:t>
            </a:r>
          </a:p>
        </p:txBody>
      </p:sp>
    </p:spTree>
    <p:extLst>
      <p:ext uri="{BB962C8B-B14F-4D97-AF65-F5344CB8AC3E}">
        <p14:creationId xmlns:p14="http://schemas.microsoft.com/office/powerpoint/2010/main" val="30790891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3649953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4BBEAF51-0D14-ECFA-C16B-CB831AA0DDA5}"/>
              </a:ext>
            </a:extLst>
          </p:cNvPr>
          <p:cNvPicPr>
            <a:picLocks noChangeAspect="1"/>
          </p:cNvPicPr>
          <p:nvPr/>
        </p:nvPicPr>
        <p:blipFill>
          <a:blip r:embed="rId5"/>
          <a:stretch>
            <a:fillRect/>
          </a:stretch>
        </p:blipFill>
        <p:spPr>
          <a:xfrm>
            <a:off x="1517902" y="2577597"/>
            <a:ext cx="8613650" cy="114598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7</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17903" y="2907791"/>
            <a:ext cx="8613649" cy="667513"/>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8298233" y="3792945"/>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Indicate level of configurability</a:t>
            </a:r>
          </a:p>
        </p:txBody>
      </p:sp>
    </p:spTree>
    <p:extLst>
      <p:ext uri="{BB962C8B-B14F-4D97-AF65-F5344CB8AC3E}">
        <p14:creationId xmlns:p14="http://schemas.microsoft.com/office/powerpoint/2010/main" val="38979159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3786008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067D68DE-E29E-48EC-9A64-404B99855425}"/>
              </a:ext>
            </a:extLst>
          </p:cNvPr>
          <p:cNvPicPr>
            <a:picLocks noChangeAspect="1"/>
          </p:cNvPicPr>
          <p:nvPr/>
        </p:nvPicPr>
        <p:blipFill>
          <a:blip r:embed="rId5"/>
          <a:stretch>
            <a:fillRect/>
          </a:stretch>
        </p:blipFill>
        <p:spPr>
          <a:xfrm>
            <a:off x="1517902" y="2552449"/>
            <a:ext cx="8613650" cy="1025211"/>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8</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17903" y="2907791"/>
            <a:ext cx="8613649" cy="667513"/>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8298233" y="3792945"/>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Indicate level of customization and average costs</a:t>
            </a:r>
          </a:p>
        </p:txBody>
      </p:sp>
    </p:spTree>
    <p:extLst>
      <p:ext uri="{BB962C8B-B14F-4D97-AF65-F5344CB8AC3E}">
        <p14:creationId xmlns:p14="http://schemas.microsoft.com/office/powerpoint/2010/main" val="24493543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975526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496630E-780A-427E-C436-DCB85FDC1F68}"/>
              </a:ext>
            </a:extLst>
          </p:cNvPr>
          <p:cNvPicPr>
            <a:picLocks noChangeAspect="1"/>
          </p:cNvPicPr>
          <p:nvPr/>
        </p:nvPicPr>
        <p:blipFill>
          <a:blip r:embed="rId5"/>
          <a:stretch>
            <a:fillRect/>
          </a:stretch>
        </p:blipFill>
        <p:spPr>
          <a:xfrm>
            <a:off x="1080836" y="1220724"/>
            <a:ext cx="9487782"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9</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207007" y="4213568"/>
            <a:ext cx="9361611" cy="1007656"/>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8956601" y="4881081"/>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nswer all support questions. When finished, click Save.</a:t>
            </a:r>
          </a:p>
        </p:txBody>
      </p:sp>
      <p:sp>
        <p:nvSpPr>
          <p:cNvPr id="11" name="Rectangle 10">
            <a:extLst>
              <a:ext uri="{FF2B5EF4-FFF2-40B4-BE49-F238E27FC236}">
                <a16:creationId xmlns:a16="http://schemas.microsoft.com/office/drawing/2014/main" id="{3A52B9E0-8D9A-CF04-BEA7-5276A9872A1B}"/>
              </a:ext>
            </a:extLst>
          </p:cNvPr>
          <p:cNvSpPr/>
          <p:nvPr/>
        </p:nvSpPr>
        <p:spPr>
          <a:xfrm>
            <a:off x="1277112" y="1636776"/>
            <a:ext cx="487680" cy="29260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800286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BD78A3-C4FF-27E8-1B40-A974254C4035}"/>
              </a:ext>
            </a:extLst>
          </p:cNvPr>
          <p:cNvGraphicFramePr>
            <a:graphicFrameLocks noChangeAspect="1"/>
          </p:cNvGraphicFramePr>
          <p:nvPr>
            <p:custDataLst>
              <p:tags r:id="rId1"/>
            </p:custDataLst>
            <p:extLst>
              <p:ext uri="{D42A27DB-BD31-4B8C-83A1-F6EECF244321}">
                <p14:modId xmlns:p14="http://schemas.microsoft.com/office/powerpoint/2010/main" val="4112292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7" name="Object 6" hidden="1">
                        <a:extLst>
                          <a:ext uri="{FF2B5EF4-FFF2-40B4-BE49-F238E27FC236}">
                            <a16:creationId xmlns:a16="http://schemas.microsoft.com/office/drawing/2014/main" id="{56BD78A3-C4FF-27E8-1B40-A974254C4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0B98384-6C2B-DE53-1035-635F674877BC}"/>
              </a:ext>
            </a:extLst>
          </p:cNvPr>
          <p:cNvSpPr/>
          <p:nvPr/>
        </p:nvSpPr>
        <p:spPr>
          <a:xfrm>
            <a:off x="0" y="0"/>
            <a:ext cx="12192000" cy="6857999"/>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7B84A045-2D43-9859-3469-84775715D19E}"/>
              </a:ext>
            </a:extLst>
          </p:cNvPr>
          <p:cNvSpPr>
            <a:spLocks noGrp="1"/>
          </p:cNvSpPr>
          <p:nvPr>
            <p:ph type="title"/>
          </p:nvPr>
        </p:nvSpPr>
        <p:spPr>
          <a:xfrm>
            <a:off x="838200" y="1848660"/>
            <a:ext cx="10515600" cy="2972720"/>
          </a:xfrm>
        </p:spPr>
        <p:txBody>
          <a:bodyPr vert="horz">
            <a:normAutofit/>
          </a:bodyPr>
          <a:lstStyle/>
          <a:p>
            <a:pPr algn="ctr"/>
            <a:r>
              <a:rPr lang="en-US" sz="4800" dirty="0">
                <a:solidFill>
                  <a:schemeClr val="bg1"/>
                </a:solidFill>
              </a:rPr>
              <a:t>Login into the Platform</a:t>
            </a:r>
          </a:p>
        </p:txBody>
      </p:sp>
      <p:pic>
        <p:nvPicPr>
          <p:cNvPr id="18435" name="Picture 3" descr="Institute for Manufacturing | University of Cambridge">
            <a:extLst>
              <a:ext uri="{FF2B5EF4-FFF2-40B4-BE49-F238E27FC236}">
                <a16:creationId xmlns:a16="http://schemas.microsoft.com/office/drawing/2014/main" id="{E5547B84-768C-3A1B-B879-7E1E76A48204}"/>
              </a:ext>
            </a:extLst>
          </p:cNvPr>
          <p:cNvPicPr>
            <a:picLocks noChangeAspect="1" noChangeArrowheads="1"/>
          </p:cNvPicPr>
          <p:nvPr/>
        </p:nvPicPr>
        <p:blipFill rotWithShape="1">
          <a:blip r:embed="rId5">
            <a:biLevel thresh="25000"/>
            <a:extLst>
              <a:ext uri="{28A0092B-C50C-407E-A947-70E740481C1C}">
                <a14:useLocalDpi xmlns:a14="http://schemas.microsoft.com/office/drawing/2010/main" val="0"/>
              </a:ext>
            </a:extLst>
          </a:blip>
          <a:srcRect t="25403" b="26051"/>
          <a:stretch/>
        </p:blipFill>
        <p:spPr bwMode="auto">
          <a:xfrm>
            <a:off x="536448" y="5867400"/>
            <a:ext cx="2427732" cy="58928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5C967D08-D55B-A73E-A52E-9CA065C68906}"/>
              </a:ext>
            </a:extLst>
          </p:cNvPr>
          <p:cNvGrpSpPr/>
          <p:nvPr/>
        </p:nvGrpSpPr>
        <p:grpSpPr>
          <a:xfrm>
            <a:off x="8664915" y="5867400"/>
            <a:ext cx="2990637" cy="585216"/>
            <a:chOff x="8513075" y="5905500"/>
            <a:chExt cx="2990637" cy="585216"/>
          </a:xfrm>
        </p:grpSpPr>
        <p:pic>
          <p:nvPicPr>
            <p:cNvPr id="1026" name="Picture 2" descr="University of Cambridge Logo PNG Transparent (1) – Brands Logos">
              <a:extLst>
                <a:ext uri="{FF2B5EF4-FFF2-40B4-BE49-F238E27FC236}">
                  <a16:creationId xmlns:a16="http://schemas.microsoft.com/office/drawing/2014/main" id="{1BD20823-6056-2FB5-06F7-22B93171AE7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niversity of Cambridge Logo PNG Transparent (1) – Brands Logos">
              <a:extLst>
                <a:ext uri="{FF2B5EF4-FFF2-40B4-BE49-F238E27FC236}">
                  <a16:creationId xmlns:a16="http://schemas.microsoft.com/office/drawing/2014/main" id="{5479F910-6BE2-7A38-5D89-78B2F3799BA7}"/>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712975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BD78A3-C4FF-27E8-1B40-A974254C4035}"/>
              </a:ext>
            </a:extLst>
          </p:cNvPr>
          <p:cNvGraphicFramePr>
            <a:graphicFrameLocks noChangeAspect="1"/>
          </p:cNvGraphicFramePr>
          <p:nvPr>
            <p:custDataLst>
              <p:tags r:id="rId1"/>
            </p:custDataLst>
            <p:extLst>
              <p:ext uri="{D42A27DB-BD31-4B8C-83A1-F6EECF244321}">
                <p14:modId xmlns:p14="http://schemas.microsoft.com/office/powerpoint/2010/main" val="2503519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7" name="Object 6" hidden="1">
                        <a:extLst>
                          <a:ext uri="{FF2B5EF4-FFF2-40B4-BE49-F238E27FC236}">
                            <a16:creationId xmlns:a16="http://schemas.microsoft.com/office/drawing/2014/main" id="{56BD78A3-C4FF-27E8-1B40-A974254C4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0B98384-6C2B-DE53-1035-635F674877BC}"/>
              </a:ext>
            </a:extLst>
          </p:cNvPr>
          <p:cNvSpPr/>
          <p:nvPr/>
        </p:nvSpPr>
        <p:spPr>
          <a:xfrm>
            <a:off x="0" y="0"/>
            <a:ext cx="12192000" cy="6857999"/>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7B84A045-2D43-9859-3469-84775715D19E}"/>
              </a:ext>
            </a:extLst>
          </p:cNvPr>
          <p:cNvSpPr>
            <a:spLocks noGrp="1"/>
          </p:cNvSpPr>
          <p:nvPr>
            <p:ph type="title"/>
          </p:nvPr>
        </p:nvSpPr>
        <p:spPr>
          <a:xfrm>
            <a:off x="838200" y="1848660"/>
            <a:ext cx="10515600" cy="2972720"/>
          </a:xfrm>
        </p:spPr>
        <p:txBody>
          <a:bodyPr vert="horz">
            <a:normAutofit/>
          </a:bodyPr>
          <a:lstStyle/>
          <a:p>
            <a:pPr algn="ctr"/>
            <a:r>
              <a:rPr lang="en-US" sz="4800" dirty="0">
                <a:solidFill>
                  <a:schemeClr val="bg1"/>
                </a:solidFill>
              </a:rPr>
              <a:t>Adding New Skills</a:t>
            </a:r>
          </a:p>
        </p:txBody>
      </p:sp>
      <p:pic>
        <p:nvPicPr>
          <p:cNvPr id="18435" name="Picture 3" descr="Institute for Manufacturing | University of Cambridge">
            <a:extLst>
              <a:ext uri="{FF2B5EF4-FFF2-40B4-BE49-F238E27FC236}">
                <a16:creationId xmlns:a16="http://schemas.microsoft.com/office/drawing/2014/main" id="{E5547B84-768C-3A1B-B879-7E1E76A48204}"/>
              </a:ext>
            </a:extLst>
          </p:cNvPr>
          <p:cNvPicPr>
            <a:picLocks noChangeAspect="1" noChangeArrowheads="1"/>
          </p:cNvPicPr>
          <p:nvPr/>
        </p:nvPicPr>
        <p:blipFill rotWithShape="1">
          <a:blip r:embed="rId5">
            <a:biLevel thresh="25000"/>
            <a:extLst>
              <a:ext uri="{28A0092B-C50C-407E-A947-70E740481C1C}">
                <a14:useLocalDpi xmlns:a14="http://schemas.microsoft.com/office/drawing/2010/main" val="0"/>
              </a:ext>
            </a:extLst>
          </a:blip>
          <a:srcRect t="25403" b="26051"/>
          <a:stretch/>
        </p:blipFill>
        <p:spPr bwMode="auto">
          <a:xfrm>
            <a:off x="536448" y="5867400"/>
            <a:ext cx="2427732" cy="58928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5C967D08-D55B-A73E-A52E-9CA065C68906}"/>
              </a:ext>
            </a:extLst>
          </p:cNvPr>
          <p:cNvGrpSpPr/>
          <p:nvPr/>
        </p:nvGrpSpPr>
        <p:grpSpPr>
          <a:xfrm>
            <a:off x="8664915" y="5867400"/>
            <a:ext cx="2990637" cy="585216"/>
            <a:chOff x="8513075" y="5905500"/>
            <a:chExt cx="2990637" cy="585216"/>
          </a:xfrm>
        </p:grpSpPr>
        <p:pic>
          <p:nvPicPr>
            <p:cNvPr id="1026" name="Picture 2" descr="University of Cambridge Logo PNG Transparent (1) – Brands Logos">
              <a:extLst>
                <a:ext uri="{FF2B5EF4-FFF2-40B4-BE49-F238E27FC236}">
                  <a16:creationId xmlns:a16="http://schemas.microsoft.com/office/drawing/2014/main" id="{1BD20823-6056-2FB5-06F7-22B93171AE7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niversity of Cambridge Logo PNG Transparent (1) – Brands Logos">
              <a:extLst>
                <a:ext uri="{FF2B5EF4-FFF2-40B4-BE49-F238E27FC236}">
                  <a16:creationId xmlns:a16="http://schemas.microsoft.com/office/drawing/2014/main" id="{5479F910-6BE2-7A38-5D89-78B2F3799BA7}"/>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220039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122036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5DDE8104-5FB4-4C63-1940-CBC31D964D9F}"/>
              </a:ext>
            </a:extLst>
          </p:cNvPr>
          <p:cNvPicPr>
            <a:picLocks noChangeAspect="1"/>
          </p:cNvPicPr>
          <p:nvPr/>
        </p:nvPicPr>
        <p:blipFill>
          <a:blip r:embed="rId5"/>
          <a:stretch>
            <a:fillRect/>
          </a:stretch>
        </p:blipFill>
        <p:spPr>
          <a:xfrm>
            <a:off x="1277112" y="1447800"/>
            <a:ext cx="8426782"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kill</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21</a:t>
            </a:fld>
            <a:endParaRPr lang="en-US" dirty="0"/>
          </a:p>
        </p:txBody>
      </p:sp>
      <p:sp>
        <p:nvSpPr>
          <p:cNvPr id="12" name="Rectangle 11">
            <a:extLst>
              <a:ext uri="{FF2B5EF4-FFF2-40B4-BE49-F238E27FC236}">
                <a16:creationId xmlns:a16="http://schemas.microsoft.com/office/drawing/2014/main" id="{B98A3562-73B7-04C3-BFBD-2F03CDE2E4D9}"/>
              </a:ext>
            </a:extLst>
          </p:cNvPr>
          <p:cNvSpPr/>
          <p:nvPr/>
        </p:nvSpPr>
        <p:spPr>
          <a:xfrm>
            <a:off x="1277112" y="3211189"/>
            <a:ext cx="1307592" cy="25987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E2744D6-DE43-2C79-9F26-B6DBBE7F0FCA}"/>
              </a:ext>
            </a:extLst>
          </p:cNvPr>
          <p:cNvSpPr/>
          <p:nvPr/>
        </p:nvSpPr>
        <p:spPr>
          <a:xfrm>
            <a:off x="2815336" y="2183603"/>
            <a:ext cx="461264" cy="229397"/>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841573" y="4306328"/>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Click on Skills Menu and then on the Create Button</a:t>
            </a:r>
          </a:p>
        </p:txBody>
      </p:sp>
    </p:spTree>
    <p:extLst>
      <p:ext uri="{BB962C8B-B14F-4D97-AF65-F5344CB8AC3E}">
        <p14:creationId xmlns:p14="http://schemas.microsoft.com/office/powerpoint/2010/main" val="3170457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1759767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A0E6696-F483-2CBE-C2E3-D64537E30B67}"/>
              </a:ext>
            </a:extLst>
          </p:cNvPr>
          <p:cNvPicPr>
            <a:picLocks noChangeAspect="1"/>
          </p:cNvPicPr>
          <p:nvPr/>
        </p:nvPicPr>
        <p:blipFill>
          <a:blip r:embed="rId5"/>
          <a:stretch>
            <a:fillRect/>
          </a:stretch>
        </p:blipFill>
        <p:spPr>
          <a:xfrm>
            <a:off x="1171140" y="1866321"/>
            <a:ext cx="8942124" cy="2121860"/>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22</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171140" y="3172676"/>
            <a:ext cx="9361611" cy="1007656"/>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7841033" y="4467347"/>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dd a name for the skill and a description. When finished, click Save.</a:t>
            </a:r>
          </a:p>
        </p:txBody>
      </p:sp>
      <p:sp>
        <p:nvSpPr>
          <p:cNvPr id="11" name="Rectangle 10">
            <a:extLst>
              <a:ext uri="{FF2B5EF4-FFF2-40B4-BE49-F238E27FC236}">
                <a16:creationId xmlns:a16="http://schemas.microsoft.com/office/drawing/2014/main" id="{3A52B9E0-8D9A-CF04-BEA7-5276A9872A1B}"/>
              </a:ext>
            </a:extLst>
          </p:cNvPr>
          <p:cNvSpPr/>
          <p:nvPr/>
        </p:nvSpPr>
        <p:spPr>
          <a:xfrm>
            <a:off x="1368552" y="2551010"/>
            <a:ext cx="432816" cy="311061"/>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55087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BD78A3-C4FF-27E8-1B40-A974254C4035}"/>
              </a:ext>
            </a:extLst>
          </p:cNvPr>
          <p:cNvGraphicFramePr>
            <a:graphicFrameLocks noChangeAspect="1"/>
          </p:cNvGraphicFramePr>
          <p:nvPr>
            <p:custDataLst>
              <p:tags r:id="rId1"/>
            </p:custDataLst>
            <p:extLst>
              <p:ext uri="{D42A27DB-BD31-4B8C-83A1-F6EECF244321}">
                <p14:modId xmlns:p14="http://schemas.microsoft.com/office/powerpoint/2010/main" val="1822749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7" name="Object 6" hidden="1">
                        <a:extLst>
                          <a:ext uri="{FF2B5EF4-FFF2-40B4-BE49-F238E27FC236}">
                            <a16:creationId xmlns:a16="http://schemas.microsoft.com/office/drawing/2014/main" id="{56BD78A3-C4FF-27E8-1B40-A974254C4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0B98384-6C2B-DE53-1035-635F674877BC}"/>
              </a:ext>
            </a:extLst>
          </p:cNvPr>
          <p:cNvSpPr/>
          <p:nvPr/>
        </p:nvSpPr>
        <p:spPr>
          <a:xfrm>
            <a:off x="0" y="0"/>
            <a:ext cx="12192000" cy="6857999"/>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7B84A045-2D43-9859-3469-84775715D19E}"/>
              </a:ext>
            </a:extLst>
          </p:cNvPr>
          <p:cNvSpPr>
            <a:spLocks noGrp="1"/>
          </p:cNvSpPr>
          <p:nvPr>
            <p:ph type="title"/>
          </p:nvPr>
        </p:nvSpPr>
        <p:spPr>
          <a:xfrm>
            <a:off x="838200" y="1848660"/>
            <a:ext cx="10515600" cy="2972720"/>
          </a:xfrm>
        </p:spPr>
        <p:txBody>
          <a:bodyPr vert="horz">
            <a:normAutofit/>
          </a:bodyPr>
          <a:lstStyle/>
          <a:p>
            <a:pPr algn="ctr"/>
            <a:r>
              <a:rPr lang="en-US" sz="4800" dirty="0">
                <a:solidFill>
                  <a:schemeClr val="bg1"/>
                </a:solidFill>
              </a:rPr>
              <a:t>Adding New Tags</a:t>
            </a:r>
          </a:p>
        </p:txBody>
      </p:sp>
      <p:pic>
        <p:nvPicPr>
          <p:cNvPr id="18435" name="Picture 3" descr="Institute for Manufacturing | University of Cambridge">
            <a:extLst>
              <a:ext uri="{FF2B5EF4-FFF2-40B4-BE49-F238E27FC236}">
                <a16:creationId xmlns:a16="http://schemas.microsoft.com/office/drawing/2014/main" id="{E5547B84-768C-3A1B-B879-7E1E76A48204}"/>
              </a:ext>
            </a:extLst>
          </p:cNvPr>
          <p:cNvPicPr>
            <a:picLocks noChangeAspect="1" noChangeArrowheads="1"/>
          </p:cNvPicPr>
          <p:nvPr/>
        </p:nvPicPr>
        <p:blipFill rotWithShape="1">
          <a:blip r:embed="rId5">
            <a:biLevel thresh="25000"/>
            <a:extLst>
              <a:ext uri="{28A0092B-C50C-407E-A947-70E740481C1C}">
                <a14:useLocalDpi xmlns:a14="http://schemas.microsoft.com/office/drawing/2010/main" val="0"/>
              </a:ext>
            </a:extLst>
          </a:blip>
          <a:srcRect t="25403" b="26051"/>
          <a:stretch/>
        </p:blipFill>
        <p:spPr bwMode="auto">
          <a:xfrm>
            <a:off x="536448" y="5867400"/>
            <a:ext cx="2427732" cy="58928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5C967D08-D55B-A73E-A52E-9CA065C68906}"/>
              </a:ext>
            </a:extLst>
          </p:cNvPr>
          <p:cNvGrpSpPr/>
          <p:nvPr/>
        </p:nvGrpSpPr>
        <p:grpSpPr>
          <a:xfrm>
            <a:off x="8664915" y="5867400"/>
            <a:ext cx="2990637" cy="585216"/>
            <a:chOff x="8513075" y="5905500"/>
            <a:chExt cx="2990637" cy="585216"/>
          </a:xfrm>
        </p:grpSpPr>
        <p:pic>
          <p:nvPicPr>
            <p:cNvPr id="1026" name="Picture 2" descr="University of Cambridge Logo PNG Transparent (1) – Brands Logos">
              <a:extLst>
                <a:ext uri="{FF2B5EF4-FFF2-40B4-BE49-F238E27FC236}">
                  <a16:creationId xmlns:a16="http://schemas.microsoft.com/office/drawing/2014/main" id="{1BD20823-6056-2FB5-06F7-22B93171AE7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niversity of Cambridge Logo PNG Transparent (1) – Brands Logos">
              <a:extLst>
                <a:ext uri="{FF2B5EF4-FFF2-40B4-BE49-F238E27FC236}">
                  <a16:creationId xmlns:a16="http://schemas.microsoft.com/office/drawing/2014/main" id="{5479F910-6BE2-7A38-5D89-78B2F3799BA7}"/>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790452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1463927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1266CB0C-83B8-C86B-DF07-210D8909901D}"/>
              </a:ext>
            </a:extLst>
          </p:cNvPr>
          <p:cNvPicPr>
            <a:picLocks noChangeAspect="1"/>
          </p:cNvPicPr>
          <p:nvPr/>
        </p:nvPicPr>
        <p:blipFill>
          <a:blip r:embed="rId5"/>
          <a:stretch>
            <a:fillRect/>
          </a:stretch>
        </p:blipFill>
        <p:spPr>
          <a:xfrm>
            <a:off x="1277112" y="1447800"/>
            <a:ext cx="8374699"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Tag</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24</a:t>
            </a:fld>
            <a:endParaRPr lang="en-US" dirty="0"/>
          </a:p>
        </p:txBody>
      </p:sp>
      <p:sp>
        <p:nvSpPr>
          <p:cNvPr id="12" name="Rectangle 11">
            <a:extLst>
              <a:ext uri="{FF2B5EF4-FFF2-40B4-BE49-F238E27FC236}">
                <a16:creationId xmlns:a16="http://schemas.microsoft.com/office/drawing/2014/main" id="{B98A3562-73B7-04C3-BFBD-2F03CDE2E4D9}"/>
              </a:ext>
            </a:extLst>
          </p:cNvPr>
          <p:cNvSpPr/>
          <p:nvPr/>
        </p:nvSpPr>
        <p:spPr>
          <a:xfrm>
            <a:off x="1277112" y="3396198"/>
            <a:ext cx="1307592" cy="25987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E2744D6-DE43-2C79-9F26-B6DBBE7F0FCA}"/>
              </a:ext>
            </a:extLst>
          </p:cNvPr>
          <p:cNvSpPr/>
          <p:nvPr/>
        </p:nvSpPr>
        <p:spPr>
          <a:xfrm>
            <a:off x="2787904" y="2192601"/>
            <a:ext cx="461264" cy="229397"/>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841573" y="4306328"/>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Click on Tags Menu and then on the Create Button</a:t>
            </a:r>
          </a:p>
        </p:txBody>
      </p:sp>
    </p:spTree>
    <p:extLst>
      <p:ext uri="{BB962C8B-B14F-4D97-AF65-F5344CB8AC3E}">
        <p14:creationId xmlns:p14="http://schemas.microsoft.com/office/powerpoint/2010/main" val="8738055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64117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0C3FD1A1-6C36-484A-0E58-D65CB50991ED}"/>
              </a:ext>
            </a:extLst>
          </p:cNvPr>
          <p:cNvPicPr>
            <a:picLocks noChangeAspect="1"/>
          </p:cNvPicPr>
          <p:nvPr/>
        </p:nvPicPr>
        <p:blipFill>
          <a:blip r:embed="rId5"/>
          <a:stretch>
            <a:fillRect/>
          </a:stretch>
        </p:blipFill>
        <p:spPr>
          <a:xfrm>
            <a:off x="1175167" y="1447800"/>
            <a:ext cx="9841665" cy="4486259"/>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Functionality</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25</a:t>
            </a:fld>
            <a:endParaRPr lang="en-US" dirty="0"/>
          </a:p>
        </p:txBody>
      </p:sp>
      <p:sp>
        <p:nvSpPr>
          <p:cNvPr id="12" name="Rectangle 11">
            <a:extLst>
              <a:ext uri="{FF2B5EF4-FFF2-40B4-BE49-F238E27FC236}">
                <a16:creationId xmlns:a16="http://schemas.microsoft.com/office/drawing/2014/main" id="{B98A3562-73B7-04C3-BFBD-2F03CDE2E4D9}"/>
              </a:ext>
            </a:extLst>
          </p:cNvPr>
          <p:cNvSpPr/>
          <p:nvPr/>
        </p:nvSpPr>
        <p:spPr>
          <a:xfrm>
            <a:off x="1453896" y="4014216"/>
            <a:ext cx="1517904" cy="264680"/>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E2744D6-DE43-2C79-9F26-B6DBBE7F0FCA}"/>
              </a:ext>
            </a:extLst>
          </p:cNvPr>
          <p:cNvSpPr/>
          <p:nvPr/>
        </p:nvSpPr>
        <p:spPr>
          <a:xfrm>
            <a:off x="1288288" y="2962656"/>
            <a:ext cx="4545584" cy="651183"/>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5449824" y="4278896"/>
            <a:ext cx="5735492"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dd a name for the tag. Then click on “Add a line” in Functionality to associate a functionality. Select all the functionalities that are associated with this tag. When finished click “Save”.</a:t>
            </a:r>
          </a:p>
        </p:txBody>
      </p:sp>
      <p:sp>
        <p:nvSpPr>
          <p:cNvPr id="9" name="Rectangle 8">
            <a:extLst>
              <a:ext uri="{FF2B5EF4-FFF2-40B4-BE49-F238E27FC236}">
                <a16:creationId xmlns:a16="http://schemas.microsoft.com/office/drawing/2014/main" id="{25AA00C7-544E-10F7-B016-8C66D817B3DC}"/>
              </a:ext>
            </a:extLst>
          </p:cNvPr>
          <p:cNvSpPr/>
          <p:nvPr/>
        </p:nvSpPr>
        <p:spPr>
          <a:xfrm>
            <a:off x="1388872" y="2244354"/>
            <a:ext cx="461264" cy="286121"/>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628994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BD78A3-C4FF-27E8-1B40-A974254C4035}"/>
              </a:ext>
            </a:extLst>
          </p:cNvPr>
          <p:cNvGraphicFramePr>
            <a:graphicFrameLocks noChangeAspect="1"/>
          </p:cNvGraphicFramePr>
          <p:nvPr>
            <p:custDataLst>
              <p:tags r:id="rId1"/>
            </p:custDataLst>
            <p:extLst>
              <p:ext uri="{D42A27DB-BD31-4B8C-83A1-F6EECF244321}">
                <p14:modId xmlns:p14="http://schemas.microsoft.com/office/powerpoint/2010/main" val="1849235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7" name="Object 6" hidden="1">
                        <a:extLst>
                          <a:ext uri="{FF2B5EF4-FFF2-40B4-BE49-F238E27FC236}">
                            <a16:creationId xmlns:a16="http://schemas.microsoft.com/office/drawing/2014/main" id="{56BD78A3-C4FF-27E8-1B40-A974254C4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0B98384-6C2B-DE53-1035-635F674877BC}"/>
              </a:ext>
            </a:extLst>
          </p:cNvPr>
          <p:cNvSpPr/>
          <p:nvPr/>
        </p:nvSpPr>
        <p:spPr>
          <a:xfrm>
            <a:off x="0" y="0"/>
            <a:ext cx="12192000" cy="6857999"/>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7B84A045-2D43-9859-3469-84775715D19E}"/>
              </a:ext>
            </a:extLst>
          </p:cNvPr>
          <p:cNvSpPr>
            <a:spLocks noGrp="1"/>
          </p:cNvSpPr>
          <p:nvPr>
            <p:ph type="title"/>
          </p:nvPr>
        </p:nvSpPr>
        <p:spPr>
          <a:xfrm>
            <a:off x="838200" y="1848660"/>
            <a:ext cx="10515600" cy="2972720"/>
          </a:xfrm>
        </p:spPr>
        <p:txBody>
          <a:bodyPr vert="horz">
            <a:normAutofit/>
          </a:bodyPr>
          <a:lstStyle/>
          <a:p>
            <a:pPr algn="ctr"/>
            <a:r>
              <a:rPr lang="en-US" sz="4800" dirty="0">
                <a:solidFill>
                  <a:schemeClr val="bg1"/>
                </a:solidFill>
              </a:rPr>
              <a:t>Adding New Functionalities</a:t>
            </a:r>
          </a:p>
        </p:txBody>
      </p:sp>
      <p:pic>
        <p:nvPicPr>
          <p:cNvPr id="18435" name="Picture 3" descr="Institute for Manufacturing | University of Cambridge">
            <a:extLst>
              <a:ext uri="{FF2B5EF4-FFF2-40B4-BE49-F238E27FC236}">
                <a16:creationId xmlns:a16="http://schemas.microsoft.com/office/drawing/2014/main" id="{E5547B84-768C-3A1B-B879-7E1E76A48204}"/>
              </a:ext>
            </a:extLst>
          </p:cNvPr>
          <p:cNvPicPr>
            <a:picLocks noChangeAspect="1" noChangeArrowheads="1"/>
          </p:cNvPicPr>
          <p:nvPr/>
        </p:nvPicPr>
        <p:blipFill rotWithShape="1">
          <a:blip r:embed="rId5">
            <a:biLevel thresh="25000"/>
            <a:extLst>
              <a:ext uri="{28A0092B-C50C-407E-A947-70E740481C1C}">
                <a14:useLocalDpi xmlns:a14="http://schemas.microsoft.com/office/drawing/2010/main" val="0"/>
              </a:ext>
            </a:extLst>
          </a:blip>
          <a:srcRect t="25403" b="26051"/>
          <a:stretch/>
        </p:blipFill>
        <p:spPr bwMode="auto">
          <a:xfrm>
            <a:off x="536448" y="5867400"/>
            <a:ext cx="2427732" cy="58928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5C967D08-D55B-A73E-A52E-9CA065C68906}"/>
              </a:ext>
            </a:extLst>
          </p:cNvPr>
          <p:cNvGrpSpPr/>
          <p:nvPr/>
        </p:nvGrpSpPr>
        <p:grpSpPr>
          <a:xfrm>
            <a:off x="8664915" y="5867400"/>
            <a:ext cx="2990637" cy="585216"/>
            <a:chOff x="8513075" y="5905500"/>
            <a:chExt cx="2990637" cy="585216"/>
          </a:xfrm>
        </p:grpSpPr>
        <p:pic>
          <p:nvPicPr>
            <p:cNvPr id="1026" name="Picture 2" descr="University of Cambridge Logo PNG Transparent (1) – Brands Logos">
              <a:extLst>
                <a:ext uri="{FF2B5EF4-FFF2-40B4-BE49-F238E27FC236}">
                  <a16:creationId xmlns:a16="http://schemas.microsoft.com/office/drawing/2014/main" id="{1BD20823-6056-2FB5-06F7-22B93171AE7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niversity of Cambridge Logo PNG Transparent (1) – Brands Logos">
              <a:extLst>
                <a:ext uri="{FF2B5EF4-FFF2-40B4-BE49-F238E27FC236}">
                  <a16:creationId xmlns:a16="http://schemas.microsoft.com/office/drawing/2014/main" id="{5479F910-6BE2-7A38-5D89-78B2F3799BA7}"/>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429539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94774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33FCF3E2-3D98-614E-ED20-06AC96DAB558}"/>
              </a:ext>
            </a:extLst>
          </p:cNvPr>
          <p:cNvPicPr>
            <a:picLocks noChangeAspect="1"/>
          </p:cNvPicPr>
          <p:nvPr/>
        </p:nvPicPr>
        <p:blipFill>
          <a:blip r:embed="rId5"/>
          <a:stretch>
            <a:fillRect/>
          </a:stretch>
        </p:blipFill>
        <p:spPr>
          <a:xfrm>
            <a:off x="1277112" y="1447800"/>
            <a:ext cx="8469858"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Functionality</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27</a:t>
            </a:fld>
            <a:endParaRPr lang="en-US" dirty="0"/>
          </a:p>
        </p:txBody>
      </p:sp>
      <p:sp>
        <p:nvSpPr>
          <p:cNvPr id="12" name="Rectangle 11">
            <a:extLst>
              <a:ext uri="{FF2B5EF4-FFF2-40B4-BE49-F238E27FC236}">
                <a16:creationId xmlns:a16="http://schemas.microsoft.com/office/drawing/2014/main" id="{B98A3562-73B7-04C3-BFBD-2F03CDE2E4D9}"/>
              </a:ext>
            </a:extLst>
          </p:cNvPr>
          <p:cNvSpPr/>
          <p:nvPr/>
        </p:nvSpPr>
        <p:spPr>
          <a:xfrm>
            <a:off x="1277112" y="3429000"/>
            <a:ext cx="1307592" cy="25987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E2744D6-DE43-2C79-9F26-B6DBBE7F0FCA}"/>
              </a:ext>
            </a:extLst>
          </p:cNvPr>
          <p:cNvSpPr/>
          <p:nvPr/>
        </p:nvSpPr>
        <p:spPr>
          <a:xfrm>
            <a:off x="2815336" y="2183603"/>
            <a:ext cx="461264" cy="229397"/>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841572" y="4306328"/>
            <a:ext cx="3218363"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Click on Tags Menu, then on the Functionalities Submenu on the top and then on the Create Button</a:t>
            </a:r>
          </a:p>
        </p:txBody>
      </p:sp>
      <p:sp>
        <p:nvSpPr>
          <p:cNvPr id="8" name="Rectangle 7">
            <a:extLst>
              <a:ext uri="{FF2B5EF4-FFF2-40B4-BE49-F238E27FC236}">
                <a16:creationId xmlns:a16="http://schemas.microsoft.com/office/drawing/2014/main" id="{10CAC1E5-FD40-D402-896A-6B3F0F2A46DE}"/>
              </a:ext>
            </a:extLst>
          </p:cNvPr>
          <p:cNvSpPr/>
          <p:nvPr/>
        </p:nvSpPr>
        <p:spPr>
          <a:xfrm>
            <a:off x="4193032" y="1493161"/>
            <a:ext cx="708152" cy="161903"/>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194883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2961395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73745825-A543-2B6E-DF68-07BF5E4B545B}"/>
              </a:ext>
            </a:extLst>
          </p:cNvPr>
          <p:cNvPicPr>
            <a:picLocks noChangeAspect="1"/>
          </p:cNvPicPr>
          <p:nvPr/>
        </p:nvPicPr>
        <p:blipFill>
          <a:blip r:embed="rId5"/>
          <a:stretch>
            <a:fillRect/>
          </a:stretch>
        </p:blipFill>
        <p:spPr>
          <a:xfrm>
            <a:off x="1171140" y="1844543"/>
            <a:ext cx="8942124" cy="2190867"/>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Functionality</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28</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171140" y="3172676"/>
            <a:ext cx="9361611" cy="704380"/>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4754880" y="4467347"/>
            <a:ext cx="5936033"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dd a name for the functionality. When finished, click “Save”. The Tag field is read only and will be updated whenever the functionality is added to a tag as specified in the previous section.</a:t>
            </a:r>
          </a:p>
        </p:txBody>
      </p:sp>
      <p:sp>
        <p:nvSpPr>
          <p:cNvPr id="11" name="Rectangle 10">
            <a:extLst>
              <a:ext uri="{FF2B5EF4-FFF2-40B4-BE49-F238E27FC236}">
                <a16:creationId xmlns:a16="http://schemas.microsoft.com/office/drawing/2014/main" id="{3A52B9E0-8D9A-CF04-BEA7-5276A9872A1B}"/>
              </a:ext>
            </a:extLst>
          </p:cNvPr>
          <p:cNvSpPr/>
          <p:nvPr/>
        </p:nvSpPr>
        <p:spPr>
          <a:xfrm>
            <a:off x="1368552" y="2551010"/>
            <a:ext cx="432816" cy="311061"/>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13448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BD78A3-C4FF-27E8-1B40-A974254C4035}"/>
              </a:ext>
            </a:extLst>
          </p:cNvPr>
          <p:cNvGraphicFramePr>
            <a:graphicFrameLocks noChangeAspect="1"/>
          </p:cNvGraphicFramePr>
          <p:nvPr>
            <p:custDataLst>
              <p:tags r:id="rId1"/>
            </p:custDataLst>
            <p:extLst>
              <p:ext uri="{D42A27DB-BD31-4B8C-83A1-F6EECF244321}">
                <p14:modId xmlns:p14="http://schemas.microsoft.com/office/powerpoint/2010/main" val="253720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7" name="Object 6" hidden="1">
                        <a:extLst>
                          <a:ext uri="{FF2B5EF4-FFF2-40B4-BE49-F238E27FC236}">
                            <a16:creationId xmlns:a16="http://schemas.microsoft.com/office/drawing/2014/main" id="{56BD78A3-C4FF-27E8-1B40-A974254C4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0B98384-6C2B-DE53-1035-635F674877BC}"/>
              </a:ext>
            </a:extLst>
          </p:cNvPr>
          <p:cNvSpPr/>
          <p:nvPr/>
        </p:nvSpPr>
        <p:spPr>
          <a:xfrm>
            <a:off x="0" y="0"/>
            <a:ext cx="12192000" cy="6857999"/>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7B84A045-2D43-9859-3469-84775715D19E}"/>
              </a:ext>
            </a:extLst>
          </p:cNvPr>
          <p:cNvSpPr>
            <a:spLocks noGrp="1"/>
          </p:cNvSpPr>
          <p:nvPr>
            <p:ph type="title"/>
          </p:nvPr>
        </p:nvSpPr>
        <p:spPr>
          <a:xfrm>
            <a:off x="838200" y="1848660"/>
            <a:ext cx="10515600" cy="2972720"/>
          </a:xfrm>
        </p:spPr>
        <p:txBody>
          <a:bodyPr vert="horz">
            <a:normAutofit/>
          </a:bodyPr>
          <a:lstStyle/>
          <a:p>
            <a:pPr algn="ctr"/>
            <a:r>
              <a:rPr lang="en-US" sz="4800" dirty="0">
                <a:solidFill>
                  <a:schemeClr val="bg1"/>
                </a:solidFill>
              </a:rPr>
              <a:t>Adding New SMEs</a:t>
            </a:r>
          </a:p>
        </p:txBody>
      </p:sp>
      <p:pic>
        <p:nvPicPr>
          <p:cNvPr id="18435" name="Picture 3" descr="Institute for Manufacturing | University of Cambridge">
            <a:extLst>
              <a:ext uri="{FF2B5EF4-FFF2-40B4-BE49-F238E27FC236}">
                <a16:creationId xmlns:a16="http://schemas.microsoft.com/office/drawing/2014/main" id="{E5547B84-768C-3A1B-B879-7E1E76A48204}"/>
              </a:ext>
            </a:extLst>
          </p:cNvPr>
          <p:cNvPicPr>
            <a:picLocks noChangeAspect="1" noChangeArrowheads="1"/>
          </p:cNvPicPr>
          <p:nvPr/>
        </p:nvPicPr>
        <p:blipFill rotWithShape="1">
          <a:blip r:embed="rId5">
            <a:biLevel thresh="25000"/>
            <a:extLst>
              <a:ext uri="{28A0092B-C50C-407E-A947-70E740481C1C}">
                <a14:useLocalDpi xmlns:a14="http://schemas.microsoft.com/office/drawing/2010/main" val="0"/>
              </a:ext>
            </a:extLst>
          </a:blip>
          <a:srcRect t="25403" b="26051"/>
          <a:stretch/>
        </p:blipFill>
        <p:spPr bwMode="auto">
          <a:xfrm>
            <a:off x="536448" y="5867400"/>
            <a:ext cx="2427732" cy="58928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5C967D08-D55B-A73E-A52E-9CA065C68906}"/>
              </a:ext>
            </a:extLst>
          </p:cNvPr>
          <p:cNvGrpSpPr/>
          <p:nvPr/>
        </p:nvGrpSpPr>
        <p:grpSpPr>
          <a:xfrm>
            <a:off x="8664915" y="5867400"/>
            <a:ext cx="2990637" cy="585216"/>
            <a:chOff x="8513075" y="5905500"/>
            <a:chExt cx="2990637" cy="585216"/>
          </a:xfrm>
        </p:grpSpPr>
        <p:pic>
          <p:nvPicPr>
            <p:cNvPr id="1026" name="Picture 2" descr="University of Cambridge Logo PNG Transparent (1) – Brands Logos">
              <a:extLst>
                <a:ext uri="{FF2B5EF4-FFF2-40B4-BE49-F238E27FC236}">
                  <a16:creationId xmlns:a16="http://schemas.microsoft.com/office/drawing/2014/main" id="{1BD20823-6056-2FB5-06F7-22B93171AE7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niversity of Cambridge Logo PNG Transparent (1) – Brands Logos">
              <a:extLst>
                <a:ext uri="{FF2B5EF4-FFF2-40B4-BE49-F238E27FC236}">
                  <a16:creationId xmlns:a16="http://schemas.microsoft.com/office/drawing/2014/main" id="{5479F910-6BE2-7A38-5D89-78B2F3799BA7}"/>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696512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3578063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Log in Platform</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3</a:t>
            </a:fld>
            <a:endParaRPr lang="en-US" dirty="0"/>
          </a:p>
        </p:txBody>
      </p:sp>
      <p:pic>
        <p:nvPicPr>
          <p:cNvPr id="10" name="Picture 9">
            <a:extLst>
              <a:ext uri="{FF2B5EF4-FFF2-40B4-BE49-F238E27FC236}">
                <a16:creationId xmlns:a16="http://schemas.microsoft.com/office/drawing/2014/main" id="{A1338FAF-362C-558B-1326-449C7A027B7A}"/>
              </a:ext>
            </a:extLst>
          </p:cNvPr>
          <p:cNvPicPr>
            <a:picLocks noChangeAspect="1"/>
          </p:cNvPicPr>
          <p:nvPr/>
        </p:nvPicPr>
        <p:blipFill>
          <a:blip r:embed="rId5"/>
          <a:stretch>
            <a:fillRect/>
          </a:stretch>
        </p:blipFill>
        <p:spPr>
          <a:xfrm>
            <a:off x="1773499" y="1517235"/>
            <a:ext cx="8479959" cy="4416552"/>
          </a:xfrm>
          <a:prstGeom prst="rect">
            <a:avLst/>
          </a:prstGeom>
        </p:spPr>
      </p:pic>
      <p:sp>
        <p:nvSpPr>
          <p:cNvPr id="11" name="Rectangle 10">
            <a:extLst>
              <a:ext uri="{FF2B5EF4-FFF2-40B4-BE49-F238E27FC236}">
                <a16:creationId xmlns:a16="http://schemas.microsoft.com/office/drawing/2014/main" id="{E4AA5839-30FA-21D6-5810-89EE4577AC68}"/>
              </a:ext>
            </a:extLst>
          </p:cNvPr>
          <p:cNvSpPr/>
          <p:nvPr/>
        </p:nvSpPr>
        <p:spPr>
          <a:xfrm>
            <a:off x="4416552" y="1792224"/>
            <a:ext cx="3127248" cy="2706624"/>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0017D134-7538-8840-5D89-52C2E7B058F5}"/>
              </a:ext>
            </a:extLst>
          </p:cNvPr>
          <p:cNvSpPr txBox="1"/>
          <p:nvPr/>
        </p:nvSpPr>
        <p:spPr>
          <a:xfrm>
            <a:off x="7772314" y="3053600"/>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dd email and password. </a:t>
            </a:r>
          </a:p>
          <a:p>
            <a:r>
              <a:rPr lang="en-US" sz="1400" dirty="0">
                <a:solidFill>
                  <a:srgbClr val="152847"/>
                </a:solidFill>
                <a:latin typeface="Montserrat" panose="00000500000000000000" pitchFamily="2" charset="0"/>
              </a:rPr>
              <a:t>Then click on Log in</a:t>
            </a:r>
          </a:p>
        </p:txBody>
      </p:sp>
    </p:spTree>
    <p:extLst>
      <p:ext uri="{BB962C8B-B14F-4D97-AF65-F5344CB8AC3E}">
        <p14:creationId xmlns:p14="http://schemas.microsoft.com/office/powerpoint/2010/main" val="40699862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423300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7891584B-DA8D-A363-99EE-0116F3CB7005}"/>
              </a:ext>
            </a:extLst>
          </p:cNvPr>
          <p:cNvPicPr>
            <a:picLocks noChangeAspect="1"/>
          </p:cNvPicPr>
          <p:nvPr/>
        </p:nvPicPr>
        <p:blipFill>
          <a:blip r:embed="rId5"/>
          <a:stretch>
            <a:fillRect/>
          </a:stretch>
        </p:blipFill>
        <p:spPr>
          <a:xfrm>
            <a:off x="1276023" y="1447800"/>
            <a:ext cx="8470947"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ME</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30</a:t>
            </a:fld>
            <a:endParaRPr lang="en-US" dirty="0"/>
          </a:p>
        </p:txBody>
      </p:sp>
      <p:sp>
        <p:nvSpPr>
          <p:cNvPr id="12" name="Rectangle 11">
            <a:extLst>
              <a:ext uri="{FF2B5EF4-FFF2-40B4-BE49-F238E27FC236}">
                <a16:creationId xmlns:a16="http://schemas.microsoft.com/office/drawing/2014/main" id="{B98A3562-73B7-04C3-BFBD-2F03CDE2E4D9}"/>
              </a:ext>
            </a:extLst>
          </p:cNvPr>
          <p:cNvSpPr/>
          <p:nvPr/>
        </p:nvSpPr>
        <p:spPr>
          <a:xfrm>
            <a:off x="1276023" y="2496391"/>
            <a:ext cx="1307592" cy="25987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E2744D6-DE43-2C79-9F26-B6DBBE7F0FCA}"/>
              </a:ext>
            </a:extLst>
          </p:cNvPr>
          <p:cNvSpPr/>
          <p:nvPr/>
        </p:nvSpPr>
        <p:spPr>
          <a:xfrm>
            <a:off x="2815336" y="2183603"/>
            <a:ext cx="522224" cy="266989"/>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841572" y="4306328"/>
            <a:ext cx="3218363"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Click on SMEs Menu and then on the Create Button</a:t>
            </a:r>
          </a:p>
        </p:txBody>
      </p:sp>
    </p:spTree>
    <p:extLst>
      <p:ext uri="{BB962C8B-B14F-4D97-AF65-F5344CB8AC3E}">
        <p14:creationId xmlns:p14="http://schemas.microsoft.com/office/powerpoint/2010/main" val="3840107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4146912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7EDBFC63-F023-668C-3D29-42ED0929F91F}"/>
              </a:ext>
            </a:extLst>
          </p:cNvPr>
          <p:cNvPicPr>
            <a:picLocks noChangeAspect="1"/>
          </p:cNvPicPr>
          <p:nvPr/>
        </p:nvPicPr>
        <p:blipFill>
          <a:blip r:embed="rId5"/>
          <a:stretch>
            <a:fillRect/>
          </a:stretch>
        </p:blipFill>
        <p:spPr>
          <a:xfrm>
            <a:off x="1501087" y="1316590"/>
            <a:ext cx="8524348"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ME</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31</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01087" y="2185416"/>
            <a:ext cx="8456729" cy="2999232"/>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B5293CF-4E45-D96A-6847-A0C7198AEA78}"/>
              </a:ext>
            </a:extLst>
          </p:cNvPr>
          <p:cNvSpPr txBox="1"/>
          <p:nvPr/>
        </p:nvSpPr>
        <p:spPr>
          <a:xfrm>
            <a:off x="7754026" y="4468349"/>
            <a:ext cx="3173054"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Fill company’s general information (in red the required information).</a:t>
            </a:r>
          </a:p>
        </p:txBody>
      </p:sp>
    </p:spTree>
    <p:extLst>
      <p:ext uri="{BB962C8B-B14F-4D97-AF65-F5344CB8AC3E}">
        <p14:creationId xmlns:p14="http://schemas.microsoft.com/office/powerpoint/2010/main" val="12002303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2827942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95988443-FA7D-2B9E-6713-F35DC39CF46A}"/>
              </a:ext>
            </a:extLst>
          </p:cNvPr>
          <p:cNvPicPr>
            <a:picLocks noChangeAspect="1"/>
          </p:cNvPicPr>
          <p:nvPr/>
        </p:nvPicPr>
        <p:blipFill>
          <a:blip r:embed="rId5"/>
          <a:stretch>
            <a:fillRect/>
          </a:stretch>
        </p:blipFill>
        <p:spPr>
          <a:xfrm>
            <a:off x="1501087" y="1625508"/>
            <a:ext cx="8456729" cy="259504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ME</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32</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01087" y="2093976"/>
            <a:ext cx="8456729" cy="621792"/>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B5293CF-4E45-D96A-6847-A0C7198AEA78}"/>
              </a:ext>
            </a:extLst>
          </p:cNvPr>
          <p:cNvSpPr txBox="1"/>
          <p:nvPr/>
        </p:nvSpPr>
        <p:spPr>
          <a:xfrm>
            <a:off x="7754026" y="4468349"/>
            <a:ext cx="3173054"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dd the skills that the SME has by clicking on the “Add a line” link and selecting them</a:t>
            </a:r>
          </a:p>
        </p:txBody>
      </p:sp>
    </p:spTree>
    <p:extLst>
      <p:ext uri="{BB962C8B-B14F-4D97-AF65-F5344CB8AC3E}">
        <p14:creationId xmlns:p14="http://schemas.microsoft.com/office/powerpoint/2010/main" val="7678458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1986962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B5B36478-34AD-00BE-3606-9F47A83F6F3D}"/>
              </a:ext>
            </a:extLst>
          </p:cNvPr>
          <p:cNvPicPr>
            <a:picLocks noChangeAspect="1"/>
          </p:cNvPicPr>
          <p:nvPr/>
        </p:nvPicPr>
        <p:blipFill>
          <a:blip r:embed="rId5"/>
          <a:stretch>
            <a:fillRect/>
          </a:stretch>
        </p:blipFill>
        <p:spPr>
          <a:xfrm>
            <a:off x="1501087" y="1654084"/>
            <a:ext cx="8456730" cy="2598851"/>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ME</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33</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01087" y="2093976"/>
            <a:ext cx="8456729" cy="2267712"/>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B5293CF-4E45-D96A-6847-A0C7198AEA78}"/>
              </a:ext>
            </a:extLst>
          </p:cNvPr>
          <p:cNvSpPr txBox="1"/>
          <p:nvPr/>
        </p:nvSpPr>
        <p:spPr>
          <a:xfrm>
            <a:off x="7754026" y="4468349"/>
            <a:ext cx="3173054"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nswer all the questions in the Questionnaire section. This will be used in every search.</a:t>
            </a:r>
          </a:p>
        </p:txBody>
      </p:sp>
    </p:spTree>
    <p:extLst>
      <p:ext uri="{BB962C8B-B14F-4D97-AF65-F5344CB8AC3E}">
        <p14:creationId xmlns:p14="http://schemas.microsoft.com/office/powerpoint/2010/main" val="30882028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724820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A2E97CB-BC86-D73C-7332-210005C463A8}"/>
              </a:ext>
            </a:extLst>
          </p:cNvPr>
          <p:cNvPicPr>
            <a:picLocks noChangeAspect="1"/>
          </p:cNvPicPr>
          <p:nvPr/>
        </p:nvPicPr>
        <p:blipFill>
          <a:blip r:embed="rId5"/>
          <a:stretch>
            <a:fillRect/>
          </a:stretch>
        </p:blipFill>
        <p:spPr>
          <a:xfrm>
            <a:off x="1541035" y="1475232"/>
            <a:ext cx="8376831"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ME</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34</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01085" y="5122164"/>
            <a:ext cx="8456729" cy="52120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B5293CF-4E45-D96A-6847-A0C7198AEA78}"/>
              </a:ext>
            </a:extLst>
          </p:cNvPr>
          <p:cNvSpPr txBox="1"/>
          <p:nvPr/>
        </p:nvSpPr>
        <p:spPr>
          <a:xfrm>
            <a:off x="6949440" y="3853821"/>
            <a:ext cx="4636008"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Select a user to associate to the SME. A user is the credentials to give access to the platform. Once selected click on “Save”.</a:t>
            </a:r>
          </a:p>
        </p:txBody>
      </p:sp>
      <p:sp>
        <p:nvSpPr>
          <p:cNvPr id="11" name="Rectangle 10">
            <a:extLst>
              <a:ext uri="{FF2B5EF4-FFF2-40B4-BE49-F238E27FC236}">
                <a16:creationId xmlns:a16="http://schemas.microsoft.com/office/drawing/2014/main" id="{80F05DC7-3797-DA89-D0E4-74A8E436AE89}"/>
              </a:ext>
            </a:extLst>
          </p:cNvPr>
          <p:cNvSpPr/>
          <p:nvPr/>
        </p:nvSpPr>
        <p:spPr>
          <a:xfrm>
            <a:off x="1688592" y="2121408"/>
            <a:ext cx="405384" cy="292607"/>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21273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BD78A3-C4FF-27E8-1B40-A974254C4035}"/>
              </a:ext>
            </a:extLst>
          </p:cNvPr>
          <p:cNvGraphicFramePr>
            <a:graphicFrameLocks noChangeAspect="1"/>
          </p:cNvGraphicFramePr>
          <p:nvPr>
            <p:custDataLst>
              <p:tags r:id="rId1"/>
            </p:custDataLst>
            <p:extLst>
              <p:ext uri="{D42A27DB-BD31-4B8C-83A1-F6EECF244321}">
                <p14:modId xmlns:p14="http://schemas.microsoft.com/office/powerpoint/2010/main" val="3231850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7" name="Object 6" hidden="1">
                        <a:extLst>
                          <a:ext uri="{FF2B5EF4-FFF2-40B4-BE49-F238E27FC236}">
                            <a16:creationId xmlns:a16="http://schemas.microsoft.com/office/drawing/2014/main" id="{56BD78A3-C4FF-27E8-1B40-A974254C4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0B98384-6C2B-DE53-1035-635F674877BC}"/>
              </a:ext>
            </a:extLst>
          </p:cNvPr>
          <p:cNvSpPr/>
          <p:nvPr/>
        </p:nvSpPr>
        <p:spPr>
          <a:xfrm>
            <a:off x="0" y="0"/>
            <a:ext cx="12192000" cy="6857999"/>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7B84A045-2D43-9859-3469-84775715D19E}"/>
              </a:ext>
            </a:extLst>
          </p:cNvPr>
          <p:cNvSpPr>
            <a:spLocks noGrp="1"/>
          </p:cNvSpPr>
          <p:nvPr>
            <p:ph type="title"/>
          </p:nvPr>
        </p:nvSpPr>
        <p:spPr>
          <a:xfrm>
            <a:off x="838200" y="1848660"/>
            <a:ext cx="10515600" cy="2972720"/>
          </a:xfrm>
        </p:spPr>
        <p:txBody>
          <a:bodyPr vert="horz">
            <a:normAutofit/>
          </a:bodyPr>
          <a:lstStyle/>
          <a:p>
            <a:pPr algn="ctr"/>
            <a:r>
              <a:rPr lang="en-US" sz="4800" dirty="0">
                <a:solidFill>
                  <a:schemeClr val="bg1"/>
                </a:solidFill>
              </a:rPr>
              <a:t>Adding New Searches</a:t>
            </a:r>
          </a:p>
        </p:txBody>
      </p:sp>
      <p:pic>
        <p:nvPicPr>
          <p:cNvPr id="18435" name="Picture 3" descr="Institute for Manufacturing | University of Cambridge">
            <a:extLst>
              <a:ext uri="{FF2B5EF4-FFF2-40B4-BE49-F238E27FC236}">
                <a16:creationId xmlns:a16="http://schemas.microsoft.com/office/drawing/2014/main" id="{E5547B84-768C-3A1B-B879-7E1E76A48204}"/>
              </a:ext>
            </a:extLst>
          </p:cNvPr>
          <p:cNvPicPr>
            <a:picLocks noChangeAspect="1" noChangeArrowheads="1"/>
          </p:cNvPicPr>
          <p:nvPr/>
        </p:nvPicPr>
        <p:blipFill rotWithShape="1">
          <a:blip r:embed="rId5">
            <a:biLevel thresh="25000"/>
            <a:extLst>
              <a:ext uri="{28A0092B-C50C-407E-A947-70E740481C1C}">
                <a14:useLocalDpi xmlns:a14="http://schemas.microsoft.com/office/drawing/2010/main" val="0"/>
              </a:ext>
            </a:extLst>
          </a:blip>
          <a:srcRect t="25403" b="26051"/>
          <a:stretch/>
        </p:blipFill>
        <p:spPr bwMode="auto">
          <a:xfrm>
            <a:off x="536448" y="5867400"/>
            <a:ext cx="2427732" cy="58928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5C967D08-D55B-A73E-A52E-9CA065C68906}"/>
              </a:ext>
            </a:extLst>
          </p:cNvPr>
          <p:cNvGrpSpPr/>
          <p:nvPr/>
        </p:nvGrpSpPr>
        <p:grpSpPr>
          <a:xfrm>
            <a:off x="8664915" y="5867400"/>
            <a:ext cx="2990637" cy="585216"/>
            <a:chOff x="8513075" y="5905500"/>
            <a:chExt cx="2990637" cy="585216"/>
          </a:xfrm>
        </p:grpSpPr>
        <p:pic>
          <p:nvPicPr>
            <p:cNvPr id="1026" name="Picture 2" descr="University of Cambridge Logo PNG Transparent (1) – Brands Logos">
              <a:extLst>
                <a:ext uri="{FF2B5EF4-FFF2-40B4-BE49-F238E27FC236}">
                  <a16:creationId xmlns:a16="http://schemas.microsoft.com/office/drawing/2014/main" id="{1BD20823-6056-2FB5-06F7-22B93171AE7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niversity of Cambridge Logo PNG Transparent (1) – Brands Logos">
              <a:extLst>
                <a:ext uri="{FF2B5EF4-FFF2-40B4-BE49-F238E27FC236}">
                  <a16:creationId xmlns:a16="http://schemas.microsoft.com/office/drawing/2014/main" id="{5479F910-6BE2-7A38-5D89-78B2F3799BA7}"/>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526963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2938470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6F51E5B6-26F5-583F-9518-4E51235E6D06}"/>
              </a:ext>
            </a:extLst>
          </p:cNvPr>
          <p:cNvPicPr>
            <a:picLocks noChangeAspect="1"/>
          </p:cNvPicPr>
          <p:nvPr/>
        </p:nvPicPr>
        <p:blipFill>
          <a:blip r:embed="rId5"/>
          <a:stretch>
            <a:fillRect/>
          </a:stretch>
        </p:blipFill>
        <p:spPr>
          <a:xfrm>
            <a:off x="1277112" y="1447800"/>
            <a:ext cx="8419190"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36</a:t>
            </a:fld>
            <a:endParaRPr lang="en-US" dirty="0"/>
          </a:p>
        </p:txBody>
      </p:sp>
      <p:sp>
        <p:nvSpPr>
          <p:cNvPr id="12" name="Rectangle 11">
            <a:extLst>
              <a:ext uri="{FF2B5EF4-FFF2-40B4-BE49-F238E27FC236}">
                <a16:creationId xmlns:a16="http://schemas.microsoft.com/office/drawing/2014/main" id="{B98A3562-73B7-04C3-BFBD-2F03CDE2E4D9}"/>
              </a:ext>
            </a:extLst>
          </p:cNvPr>
          <p:cNvSpPr/>
          <p:nvPr/>
        </p:nvSpPr>
        <p:spPr>
          <a:xfrm>
            <a:off x="1277111" y="2250785"/>
            <a:ext cx="1273611" cy="229397"/>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E2744D6-DE43-2C79-9F26-B6DBBE7F0FCA}"/>
              </a:ext>
            </a:extLst>
          </p:cNvPr>
          <p:cNvSpPr/>
          <p:nvPr/>
        </p:nvSpPr>
        <p:spPr>
          <a:xfrm>
            <a:off x="2797048" y="2201891"/>
            <a:ext cx="461264" cy="229397"/>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841572" y="4306328"/>
            <a:ext cx="3218363"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Click on Searches Menu and then on the Create Button</a:t>
            </a:r>
          </a:p>
        </p:txBody>
      </p:sp>
    </p:spTree>
    <p:extLst>
      <p:ext uri="{BB962C8B-B14F-4D97-AF65-F5344CB8AC3E}">
        <p14:creationId xmlns:p14="http://schemas.microsoft.com/office/powerpoint/2010/main" val="27982429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61394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3179636-5383-29BB-7B8C-716470793266}"/>
              </a:ext>
            </a:extLst>
          </p:cNvPr>
          <p:cNvPicPr>
            <a:picLocks noChangeAspect="1"/>
          </p:cNvPicPr>
          <p:nvPr/>
        </p:nvPicPr>
        <p:blipFill>
          <a:blip r:embed="rId5"/>
          <a:stretch>
            <a:fillRect/>
          </a:stretch>
        </p:blipFill>
        <p:spPr>
          <a:xfrm>
            <a:off x="1095699" y="1447800"/>
            <a:ext cx="8401146"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37</a:t>
            </a:fld>
            <a:endParaRPr lang="en-US" dirty="0"/>
          </a:p>
        </p:txBody>
      </p:sp>
      <p:sp>
        <p:nvSpPr>
          <p:cNvPr id="12" name="Rectangle 11">
            <a:extLst>
              <a:ext uri="{FF2B5EF4-FFF2-40B4-BE49-F238E27FC236}">
                <a16:creationId xmlns:a16="http://schemas.microsoft.com/office/drawing/2014/main" id="{B98A3562-73B7-04C3-BFBD-2F03CDE2E4D9}"/>
              </a:ext>
            </a:extLst>
          </p:cNvPr>
          <p:cNvSpPr/>
          <p:nvPr/>
        </p:nvSpPr>
        <p:spPr>
          <a:xfrm>
            <a:off x="1258823" y="3152867"/>
            <a:ext cx="6531865" cy="1019931"/>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E2744D6-DE43-2C79-9F26-B6DBBE7F0FCA}"/>
              </a:ext>
            </a:extLst>
          </p:cNvPr>
          <p:cNvSpPr/>
          <p:nvPr/>
        </p:nvSpPr>
        <p:spPr>
          <a:xfrm>
            <a:off x="1258823" y="2153463"/>
            <a:ext cx="461264" cy="217205"/>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5761044" y="4902472"/>
            <a:ext cx="522090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Give a name to the search and click “Save”. Then click to “Edit” again. All the general  information (company, time and date) is automated</a:t>
            </a:r>
          </a:p>
        </p:txBody>
      </p:sp>
    </p:spTree>
    <p:extLst>
      <p:ext uri="{BB962C8B-B14F-4D97-AF65-F5344CB8AC3E}">
        <p14:creationId xmlns:p14="http://schemas.microsoft.com/office/powerpoint/2010/main" val="20557584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55827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00A67C02-8A4A-C3F8-4C19-E38B227EC3AC}"/>
              </a:ext>
            </a:extLst>
          </p:cNvPr>
          <p:cNvPicPr>
            <a:picLocks noChangeAspect="1"/>
          </p:cNvPicPr>
          <p:nvPr/>
        </p:nvPicPr>
        <p:blipFill>
          <a:blip r:embed="rId5"/>
          <a:stretch>
            <a:fillRect/>
          </a:stretch>
        </p:blipFill>
        <p:spPr>
          <a:xfrm>
            <a:off x="1095698" y="1522851"/>
            <a:ext cx="8401147" cy="3202573"/>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38</a:t>
            </a:fld>
            <a:endParaRPr lang="en-US" dirty="0"/>
          </a:p>
        </p:txBody>
      </p:sp>
      <p:sp>
        <p:nvSpPr>
          <p:cNvPr id="12" name="Rectangle 11">
            <a:extLst>
              <a:ext uri="{FF2B5EF4-FFF2-40B4-BE49-F238E27FC236}">
                <a16:creationId xmlns:a16="http://schemas.microsoft.com/office/drawing/2014/main" id="{B98A3562-73B7-04C3-BFBD-2F03CDE2E4D9}"/>
              </a:ext>
            </a:extLst>
          </p:cNvPr>
          <p:cNvSpPr/>
          <p:nvPr/>
        </p:nvSpPr>
        <p:spPr>
          <a:xfrm>
            <a:off x="1224957" y="2988733"/>
            <a:ext cx="273643" cy="274682"/>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E2744D6-DE43-2C79-9F26-B6DBBE7F0FCA}"/>
              </a:ext>
            </a:extLst>
          </p:cNvPr>
          <p:cNvSpPr/>
          <p:nvPr/>
        </p:nvSpPr>
        <p:spPr>
          <a:xfrm>
            <a:off x="1095698" y="1921933"/>
            <a:ext cx="7718101" cy="770467"/>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4377267" y="4368800"/>
            <a:ext cx="6604677" cy="1553603"/>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First select the technologies of which you want the functionalities (tags). Then select the functionalities from the pre-defined list. They will be filtered based on the technologies you chose. Once selected, click on the “+” button to add them to your search </a:t>
            </a:r>
          </a:p>
        </p:txBody>
      </p:sp>
    </p:spTree>
    <p:extLst>
      <p:ext uri="{BB962C8B-B14F-4D97-AF65-F5344CB8AC3E}">
        <p14:creationId xmlns:p14="http://schemas.microsoft.com/office/powerpoint/2010/main" val="21425752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1571339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DC8AC76-EC57-DC90-057F-AFB761854010}"/>
              </a:ext>
            </a:extLst>
          </p:cNvPr>
          <p:cNvPicPr>
            <a:picLocks noChangeAspect="1"/>
          </p:cNvPicPr>
          <p:nvPr/>
        </p:nvPicPr>
        <p:blipFill>
          <a:blip r:embed="rId5"/>
          <a:stretch>
            <a:fillRect/>
          </a:stretch>
        </p:blipFill>
        <p:spPr>
          <a:xfrm>
            <a:off x="1095698" y="1363825"/>
            <a:ext cx="7819702" cy="3088951"/>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39</a:t>
            </a:fld>
            <a:endParaRPr lang="en-US" dirty="0"/>
          </a:p>
        </p:txBody>
      </p:sp>
      <p:sp>
        <p:nvSpPr>
          <p:cNvPr id="13" name="Rectangle 12">
            <a:extLst>
              <a:ext uri="{FF2B5EF4-FFF2-40B4-BE49-F238E27FC236}">
                <a16:creationId xmlns:a16="http://schemas.microsoft.com/office/drawing/2014/main" id="{3E2744D6-DE43-2C79-9F26-B6DBBE7F0FCA}"/>
              </a:ext>
            </a:extLst>
          </p:cNvPr>
          <p:cNvSpPr/>
          <p:nvPr/>
        </p:nvSpPr>
        <p:spPr>
          <a:xfrm>
            <a:off x="5249333" y="3227761"/>
            <a:ext cx="3693725" cy="1005572"/>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4360334" y="4459691"/>
            <a:ext cx="6604677" cy="1553603"/>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Once added, modify the weights (importance) of each functionality, being 10 related to highest importance and 1 the lowest. Numbers can be repeated.</a:t>
            </a:r>
          </a:p>
        </p:txBody>
      </p:sp>
    </p:spTree>
    <p:extLst>
      <p:ext uri="{BB962C8B-B14F-4D97-AF65-F5344CB8AC3E}">
        <p14:creationId xmlns:p14="http://schemas.microsoft.com/office/powerpoint/2010/main" val="13056880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BD78A3-C4FF-27E8-1B40-A974254C4035}"/>
              </a:ext>
            </a:extLst>
          </p:cNvPr>
          <p:cNvGraphicFramePr>
            <a:graphicFrameLocks noChangeAspect="1"/>
          </p:cNvGraphicFramePr>
          <p:nvPr>
            <p:custDataLst>
              <p:tags r:id="rId1"/>
            </p:custDataLst>
            <p:extLst>
              <p:ext uri="{D42A27DB-BD31-4B8C-83A1-F6EECF244321}">
                <p14:modId xmlns:p14="http://schemas.microsoft.com/office/powerpoint/2010/main" val="609680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7" name="Object 6" hidden="1">
                        <a:extLst>
                          <a:ext uri="{FF2B5EF4-FFF2-40B4-BE49-F238E27FC236}">
                            <a16:creationId xmlns:a16="http://schemas.microsoft.com/office/drawing/2014/main" id="{56BD78A3-C4FF-27E8-1B40-A974254C4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0B98384-6C2B-DE53-1035-635F674877BC}"/>
              </a:ext>
            </a:extLst>
          </p:cNvPr>
          <p:cNvSpPr/>
          <p:nvPr/>
        </p:nvSpPr>
        <p:spPr>
          <a:xfrm>
            <a:off x="0" y="0"/>
            <a:ext cx="12192000" cy="6857999"/>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7B84A045-2D43-9859-3469-84775715D19E}"/>
              </a:ext>
            </a:extLst>
          </p:cNvPr>
          <p:cNvSpPr>
            <a:spLocks noGrp="1"/>
          </p:cNvSpPr>
          <p:nvPr>
            <p:ph type="title"/>
          </p:nvPr>
        </p:nvSpPr>
        <p:spPr>
          <a:xfrm>
            <a:off x="838200" y="1848660"/>
            <a:ext cx="10515600" cy="2972720"/>
          </a:xfrm>
        </p:spPr>
        <p:txBody>
          <a:bodyPr vert="horz">
            <a:normAutofit/>
          </a:bodyPr>
          <a:lstStyle/>
          <a:p>
            <a:pPr algn="ctr"/>
            <a:r>
              <a:rPr lang="en-US" sz="4800" dirty="0">
                <a:solidFill>
                  <a:schemeClr val="bg1"/>
                </a:solidFill>
              </a:rPr>
              <a:t>Adding New Suppliers</a:t>
            </a:r>
          </a:p>
        </p:txBody>
      </p:sp>
      <p:pic>
        <p:nvPicPr>
          <p:cNvPr id="18435" name="Picture 3" descr="Institute for Manufacturing | University of Cambridge">
            <a:extLst>
              <a:ext uri="{FF2B5EF4-FFF2-40B4-BE49-F238E27FC236}">
                <a16:creationId xmlns:a16="http://schemas.microsoft.com/office/drawing/2014/main" id="{E5547B84-768C-3A1B-B879-7E1E76A48204}"/>
              </a:ext>
            </a:extLst>
          </p:cNvPr>
          <p:cNvPicPr>
            <a:picLocks noChangeAspect="1" noChangeArrowheads="1"/>
          </p:cNvPicPr>
          <p:nvPr/>
        </p:nvPicPr>
        <p:blipFill rotWithShape="1">
          <a:blip r:embed="rId5">
            <a:biLevel thresh="25000"/>
            <a:extLst>
              <a:ext uri="{28A0092B-C50C-407E-A947-70E740481C1C}">
                <a14:useLocalDpi xmlns:a14="http://schemas.microsoft.com/office/drawing/2010/main" val="0"/>
              </a:ext>
            </a:extLst>
          </a:blip>
          <a:srcRect t="25403" b="26051"/>
          <a:stretch/>
        </p:blipFill>
        <p:spPr bwMode="auto">
          <a:xfrm>
            <a:off x="536448" y="5867400"/>
            <a:ext cx="2427732" cy="58928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5C967D08-D55B-A73E-A52E-9CA065C68906}"/>
              </a:ext>
            </a:extLst>
          </p:cNvPr>
          <p:cNvGrpSpPr/>
          <p:nvPr/>
        </p:nvGrpSpPr>
        <p:grpSpPr>
          <a:xfrm>
            <a:off x="8664915" y="5867400"/>
            <a:ext cx="2990637" cy="585216"/>
            <a:chOff x="8513075" y="5905500"/>
            <a:chExt cx="2990637" cy="585216"/>
          </a:xfrm>
        </p:grpSpPr>
        <p:pic>
          <p:nvPicPr>
            <p:cNvPr id="1026" name="Picture 2" descr="University of Cambridge Logo PNG Transparent (1) – Brands Logos">
              <a:extLst>
                <a:ext uri="{FF2B5EF4-FFF2-40B4-BE49-F238E27FC236}">
                  <a16:creationId xmlns:a16="http://schemas.microsoft.com/office/drawing/2014/main" id="{1BD20823-6056-2FB5-06F7-22B93171AE7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niversity of Cambridge Logo PNG Transparent (1) – Brands Logos">
              <a:extLst>
                <a:ext uri="{FF2B5EF4-FFF2-40B4-BE49-F238E27FC236}">
                  <a16:creationId xmlns:a16="http://schemas.microsoft.com/office/drawing/2014/main" id="{5479F910-6BE2-7A38-5D89-78B2F3799BA7}"/>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473068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386565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0999F270-5EAF-C53D-1F9C-94B8B2DE5D37}"/>
              </a:ext>
            </a:extLst>
          </p:cNvPr>
          <p:cNvPicPr>
            <a:picLocks noChangeAspect="1"/>
          </p:cNvPicPr>
          <p:nvPr/>
        </p:nvPicPr>
        <p:blipFill>
          <a:blip r:embed="rId5"/>
          <a:stretch>
            <a:fillRect/>
          </a:stretch>
        </p:blipFill>
        <p:spPr>
          <a:xfrm>
            <a:off x="1376594" y="1548245"/>
            <a:ext cx="8969673" cy="2924359"/>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40</a:t>
            </a:fld>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4429657" y="4635812"/>
            <a:ext cx="6604677" cy="1316256"/>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The skills section pulls all the skills you have from your SME profile.</a:t>
            </a:r>
          </a:p>
        </p:txBody>
      </p:sp>
    </p:spTree>
    <p:extLst>
      <p:ext uri="{BB962C8B-B14F-4D97-AF65-F5344CB8AC3E}">
        <p14:creationId xmlns:p14="http://schemas.microsoft.com/office/powerpoint/2010/main" val="19047431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3121690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734C6AE-1941-CD79-7D25-F3FAE1365CF1}"/>
              </a:ext>
            </a:extLst>
          </p:cNvPr>
          <p:cNvPicPr>
            <a:picLocks noChangeAspect="1"/>
          </p:cNvPicPr>
          <p:nvPr/>
        </p:nvPicPr>
        <p:blipFill>
          <a:blip r:embed="rId5"/>
          <a:stretch>
            <a:fillRect/>
          </a:stretch>
        </p:blipFill>
        <p:spPr>
          <a:xfrm>
            <a:off x="939799" y="1436828"/>
            <a:ext cx="9775070" cy="3799664"/>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41</a:t>
            </a:fld>
            <a:endParaRPr lang="en-US" dirty="0"/>
          </a:p>
        </p:txBody>
      </p:sp>
      <p:sp>
        <p:nvSpPr>
          <p:cNvPr id="13" name="Rectangle 12">
            <a:extLst>
              <a:ext uri="{FF2B5EF4-FFF2-40B4-BE49-F238E27FC236}">
                <a16:creationId xmlns:a16="http://schemas.microsoft.com/office/drawing/2014/main" id="{3E2744D6-DE43-2C79-9F26-B6DBBE7F0FCA}"/>
              </a:ext>
            </a:extLst>
          </p:cNvPr>
          <p:cNvSpPr/>
          <p:nvPr/>
        </p:nvSpPr>
        <p:spPr>
          <a:xfrm>
            <a:off x="939799" y="1445387"/>
            <a:ext cx="10151534" cy="3702346"/>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4429657" y="4635812"/>
            <a:ext cx="6604677" cy="1316256"/>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nswer all the questions in the Questionnaire section. This will help determine the suggestions for your search.</a:t>
            </a:r>
          </a:p>
        </p:txBody>
      </p:sp>
    </p:spTree>
    <p:extLst>
      <p:ext uri="{BB962C8B-B14F-4D97-AF65-F5344CB8AC3E}">
        <p14:creationId xmlns:p14="http://schemas.microsoft.com/office/powerpoint/2010/main" val="2154827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11787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F1B8ADF1-E891-2FED-F307-8B46CAFBD035}"/>
              </a:ext>
            </a:extLst>
          </p:cNvPr>
          <p:cNvPicPr>
            <a:picLocks noChangeAspect="1"/>
          </p:cNvPicPr>
          <p:nvPr/>
        </p:nvPicPr>
        <p:blipFill>
          <a:blip r:embed="rId5"/>
          <a:stretch>
            <a:fillRect/>
          </a:stretch>
        </p:blipFill>
        <p:spPr>
          <a:xfrm>
            <a:off x="1885800" y="2072957"/>
            <a:ext cx="8420399" cy="2160376"/>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42</a:t>
            </a:fld>
            <a:endParaRPr lang="en-US" dirty="0"/>
          </a:p>
        </p:txBody>
      </p:sp>
      <p:sp>
        <p:nvSpPr>
          <p:cNvPr id="13" name="Rectangle 12">
            <a:extLst>
              <a:ext uri="{FF2B5EF4-FFF2-40B4-BE49-F238E27FC236}">
                <a16:creationId xmlns:a16="http://schemas.microsoft.com/office/drawing/2014/main" id="{3E2744D6-DE43-2C79-9F26-B6DBBE7F0FCA}"/>
              </a:ext>
            </a:extLst>
          </p:cNvPr>
          <p:cNvSpPr/>
          <p:nvPr/>
        </p:nvSpPr>
        <p:spPr>
          <a:xfrm>
            <a:off x="1885800" y="2533493"/>
            <a:ext cx="6775600" cy="1318839"/>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6028269" y="4081688"/>
            <a:ext cx="4809066" cy="1553603"/>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Specify the recurrent and upfront budget available.</a:t>
            </a:r>
          </a:p>
        </p:txBody>
      </p:sp>
    </p:spTree>
    <p:extLst>
      <p:ext uri="{BB962C8B-B14F-4D97-AF65-F5344CB8AC3E}">
        <p14:creationId xmlns:p14="http://schemas.microsoft.com/office/powerpoint/2010/main" val="17545821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3092826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FB9D449-447C-7103-DF86-A17E5974F8DD}"/>
              </a:ext>
            </a:extLst>
          </p:cNvPr>
          <p:cNvPicPr>
            <a:picLocks noChangeAspect="1"/>
          </p:cNvPicPr>
          <p:nvPr/>
        </p:nvPicPr>
        <p:blipFill>
          <a:blip r:embed="rId5"/>
          <a:stretch>
            <a:fillRect/>
          </a:stretch>
        </p:blipFill>
        <p:spPr>
          <a:xfrm>
            <a:off x="1354665" y="1447800"/>
            <a:ext cx="8297527" cy="4035576"/>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43</a:t>
            </a:fld>
            <a:endParaRPr lang="en-US" dirty="0"/>
          </a:p>
        </p:txBody>
      </p:sp>
      <p:sp>
        <p:nvSpPr>
          <p:cNvPr id="13" name="Rectangle 12">
            <a:extLst>
              <a:ext uri="{FF2B5EF4-FFF2-40B4-BE49-F238E27FC236}">
                <a16:creationId xmlns:a16="http://schemas.microsoft.com/office/drawing/2014/main" id="{3E2744D6-DE43-2C79-9F26-B6DBBE7F0FCA}"/>
              </a:ext>
            </a:extLst>
          </p:cNvPr>
          <p:cNvSpPr/>
          <p:nvPr/>
        </p:nvSpPr>
        <p:spPr>
          <a:xfrm>
            <a:off x="1521733" y="2296428"/>
            <a:ext cx="315534" cy="311306"/>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6028269" y="4081688"/>
            <a:ext cx="4809066" cy="1553603"/>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Click on the loupe icon to initiate the search.</a:t>
            </a:r>
          </a:p>
        </p:txBody>
      </p:sp>
    </p:spTree>
    <p:extLst>
      <p:ext uri="{BB962C8B-B14F-4D97-AF65-F5344CB8AC3E}">
        <p14:creationId xmlns:p14="http://schemas.microsoft.com/office/powerpoint/2010/main" val="2697843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85704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99B27EFD-F60F-A0D0-F039-C4D16C20423E}"/>
              </a:ext>
            </a:extLst>
          </p:cNvPr>
          <p:cNvPicPr>
            <a:picLocks noChangeAspect="1"/>
          </p:cNvPicPr>
          <p:nvPr/>
        </p:nvPicPr>
        <p:blipFill>
          <a:blip r:embed="rId5"/>
          <a:stretch>
            <a:fillRect/>
          </a:stretch>
        </p:blipFill>
        <p:spPr>
          <a:xfrm>
            <a:off x="2663414" y="1497679"/>
            <a:ext cx="6512163" cy="413761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44</a:t>
            </a:fld>
            <a:endParaRPr lang="en-US" dirty="0"/>
          </a:p>
        </p:txBody>
      </p:sp>
      <p:sp>
        <p:nvSpPr>
          <p:cNvPr id="13" name="Rectangle 12">
            <a:extLst>
              <a:ext uri="{FF2B5EF4-FFF2-40B4-BE49-F238E27FC236}">
                <a16:creationId xmlns:a16="http://schemas.microsoft.com/office/drawing/2014/main" id="{3E2744D6-DE43-2C79-9F26-B6DBBE7F0FCA}"/>
              </a:ext>
            </a:extLst>
          </p:cNvPr>
          <p:cNvSpPr/>
          <p:nvPr/>
        </p:nvSpPr>
        <p:spPr>
          <a:xfrm>
            <a:off x="2743198" y="5275146"/>
            <a:ext cx="508001" cy="278987"/>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F3C5488-34F8-AF90-3E26-4ADE02830BDD}"/>
              </a:ext>
            </a:extLst>
          </p:cNvPr>
          <p:cNvSpPr/>
          <p:nvPr/>
        </p:nvSpPr>
        <p:spPr>
          <a:xfrm>
            <a:off x="2743199" y="2296428"/>
            <a:ext cx="6432377" cy="2148572"/>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5392120" y="4496761"/>
            <a:ext cx="4809066" cy="1553603"/>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It will open a wizard where suggestions are displayed. Modify the suggestions accordingly selecting your preferences or changing the level of importance of the characteristics. When finished click “Search”.</a:t>
            </a:r>
          </a:p>
        </p:txBody>
      </p:sp>
    </p:spTree>
    <p:extLst>
      <p:ext uri="{BB962C8B-B14F-4D97-AF65-F5344CB8AC3E}">
        <p14:creationId xmlns:p14="http://schemas.microsoft.com/office/powerpoint/2010/main" val="2709831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2568399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EBA814FF-28E5-6D28-F7C2-C233141F08BB}"/>
              </a:ext>
            </a:extLst>
          </p:cNvPr>
          <p:cNvPicPr>
            <a:picLocks noChangeAspect="1"/>
          </p:cNvPicPr>
          <p:nvPr/>
        </p:nvPicPr>
        <p:blipFill>
          <a:blip r:embed="rId5"/>
          <a:stretch>
            <a:fillRect/>
          </a:stretch>
        </p:blipFill>
        <p:spPr>
          <a:xfrm>
            <a:off x="1897293" y="2301910"/>
            <a:ext cx="7551508" cy="2137607"/>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45</a:t>
            </a:fld>
            <a:endParaRPr lang="en-US" dirty="0"/>
          </a:p>
        </p:txBody>
      </p:sp>
      <p:sp>
        <p:nvSpPr>
          <p:cNvPr id="9" name="Rectangle 8">
            <a:extLst>
              <a:ext uri="{FF2B5EF4-FFF2-40B4-BE49-F238E27FC236}">
                <a16:creationId xmlns:a16="http://schemas.microsoft.com/office/drawing/2014/main" id="{2F3C5488-34F8-AF90-3E26-4ADE02830BDD}"/>
              </a:ext>
            </a:extLst>
          </p:cNvPr>
          <p:cNvSpPr/>
          <p:nvPr/>
        </p:nvSpPr>
        <p:spPr>
          <a:xfrm>
            <a:off x="1897293" y="2296428"/>
            <a:ext cx="7278283" cy="1632105"/>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3911600" y="4496761"/>
            <a:ext cx="6289586" cy="1553603"/>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The wizard will disappear and apparently nothing happened. However, go to the Results section where the solutions that suit your needs will appear each with different evaluations on each characteristic and a technical evaluation. Click on the solutions for more information. Sort them by clicking of the title of the columns.</a:t>
            </a:r>
          </a:p>
        </p:txBody>
      </p:sp>
    </p:spTree>
    <p:extLst>
      <p:ext uri="{BB962C8B-B14F-4D97-AF65-F5344CB8AC3E}">
        <p14:creationId xmlns:p14="http://schemas.microsoft.com/office/powerpoint/2010/main" val="24895778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upplier</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5</a:t>
            </a:fld>
            <a:endParaRPr lang="en-US" dirty="0"/>
          </a:p>
        </p:txBody>
      </p:sp>
      <p:pic>
        <p:nvPicPr>
          <p:cNvPr id="10" name="Picture 9">
            <a:extLst>
              <a:ext uri="{FF2B5EF4-FFF2-40B4-BE49-F238E27FC236}">
                <a16:creationId xmlns:a16="http://schemas.microsoft.com/office/drawing/2014/main" id="{07F04372-2F02-F7E7-B27E-992211453324}"/>
              </a:ext>
            </a:extLst>
          </p:cNvPr>
          <p:cNvPicPr>
            <a:picLocks noChangeAspect="1"/>
          </p:cNvPicPr>
          <p:nvPr/>
        </p:nvPicPr>
        <p:blipFill>
          <a:blip r:embed="rId5"/>
          <a:stretch>
            <a:fillRect/>
          </a:stretch>
        </p:blipFill>
        <p:spPr>
          <a:xfrm>
            <a:off x="1527048" y="1447800"/>
            <a:ext cx="8398439" cy="4413263"/>
          </a:xfrm>
          <a:prstGeom prst="rect">
            <a:avLst/>
          </a:prstGeom>
        </p:spPr>
      </p:pic>
      <p:sp>
        <p:nvSpPr>
          <p:cNvPr id="4" name="Rectangle 3">
            <a:extLst>
              <a:ext uri="{FF2B5EF4-FFF2-40B4-BE49-F238E27FC236}">
                <a16:creationId xmlns:a16="http://schemas.microsoft.com/office/drawing/2014/main" id="{0062FF9D-ABEA-7F67-9898-9929E730C9E7}"/>
              </a:ext>
            </a:extLst>
          </p:cNvPr>
          <p:cNvSpPr/>
          <p:nvPr/>
        </p:nvSpPr>
        <p:spPr>
          <a:xfrm>
            <a:off x="1527048" y="2702779"/>
            <a:ext cx="1307592" cy="25987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2C3052F-18DA-CF43-89D6-0E851110616B}"/>
              </a:ext>
            </a:extLst>
          </p:cNvPr>
          <p:cNvSpPr/>
          <p:nvPr/>
        </p:nvSpPr>
        <p:spPr>
          <a:xfrm>
            <a:off x="3014472" y="2178523"/>
            <a:ext cx="560832" cy="253781"/>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CED41CC1-80ED-C112-F7C8-D3094614299F}"/>
              </a:ext>
            </a:extLst>
          </p:cNvPr>
          <p:cNvSpPr txBox="1"/>
          <p:nvPr/>
        </p:nvSpPr>
        <p:spPr>
          <a:xfrm>
            <a:off x="841573" y="4306328"/>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Click on Supplier Menu and then on the Create Button</a:t>
            </a:r>
          </a:p>
        </p:txBody>
      </p:sp>
    </p:spTree>
    <p:extLst>
      <p:ext uri="{BB962C8B-B14F-4D97-AF65-F5344CB8AC3E}">
        <p14:creationId xmlns:p14="http://schemas.microsoft.com/office/powerpoint/2010/main" val="16190859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3BD02EBC-011B-DA8E-71E2-CAA0F47D2E51}"/>
              </a:ext>
            </a:extLst>
          </p:cNvPr>
          <p:cNvPicPr>
            <a:picLocks noChangeAspect="1"/>
          </p:cNvPicPr>
          <p:nvPr/>
        </p:nvPicPr>
        <p:blipFill>
          <a:blip r:embed="rId5"/>
          <a:stretch>
            <a:fillRect/>
          </a:stretch>
        </p:blipFill>
        <p:spPr>
          <a:xfrm>
            <a:off x="1527048" y="1447800"/>
            <a:ext cx="8502310"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upplier</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6</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673352" y="2530476"/>
            <a:ext cx="8202168" cy="3230244"/>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CED41CC1-80ED-C112-F7C8-D3094614299F}"/>
              </a:ext>
            </a:extLst>
          </p:cNvPr>
          <p:cNvSpPr txBox="1"/>
          <p:nvPr/>
        </p:nvSpPr>
        <p:spPr>
          <a:xfrm>
            <a:off x="8604418" y="4233176"/>
            <a:ext cx="3173054"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Fill company’s general information (in red the required information)</a:t>
            </a:r>
          </a:p>
          <a:p>
            <a:r>
              <a:rPr lang="en-US" sz="1400" dirty="0">
                <a:solidFill>
                  <a:srgbClr val="152847"/>
                </a:solidFill>
                <a:latin typeface="Montserrat" panose="00000500000000000000" pitchFamily="2" charset="0"/>
              </a:rPr>
              <a:t>When finalized, click on “Save”.</a:t>
            </a:r>
          </a:p>
        </p:txBody>
      </p:sp>
      <p:sp>
        <p:nvSpPr>
          <p:cNvPr id="3" name="Rectangle 2">
            <a:extLst>
              <a:ext uri="{FF2B5EF4-FFF2-40B4-BE49-F238E27FC236}">
                <a16:creationId xmlns:a16="http://schemas.microsoft.com/office/drawing/2014/main" id="{3FC4CBA0-BBBF-DA8E-C062-088B3D57C36E}"/>
              </a:ext>
            </a:extLst>
          </p:cNvPr>
          <p:cNvSpPr/>
          <p:nvPr/>
        </p:nvSpPr>
        <p:spPr>
          <a:xfrm>
            <a:off x="1673352" y="2105371"/>
            <a:ext cx="489290" cy="253781"/>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768630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BD78A3-C4FF-27E8-1B40-A974254C4035}"/>
              </a:ext>
            </a:extLst>
          </p:cNvPr>
          <p:cNvGraphicFramePr>
            <a:graphicFrameLocks noChangeAspect="1"/>
          </p:cNvGraphicFramePr>
          <p:nvPr>
            <p:custDataLst>
              <p:tags r:id="rId1"/>
            </p:custDataLst>
            <p:extLst>
              <p:ext uri="{D42A27DB-BD31-4B8C-83A1-F6EECF244321}">
                <p14:modId xmlns:p14="http://schemas.microsoft.com/office/powerpoint/2010/main" val="2380101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7" name="Object 6" hidden="1">
                        <a:extLst>
                          <a:ext uri="{FF2B5EF4-FFF2-40B4-BE49-F238E27FC236}">
                            <a16:creationId xmlns:a16="http://schemas.microsoft.com/office/drawing/2014/main" id="{56BD78A3-C4FF-27E8-1B40-A974254C4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0B98384-6C2B-DE53-1035-635F674877BC}"/>
              </a:ext>
            </a:extLst>
          </p:cNvPr>
          <p:cNvSpPr/>
          <p:nvPr/>
        </p:nvSpPr>
        <p:spPr>
          <a:xfrm>
            <a:off x="0" y="0"/>
            <a:ext cx="12192000" cy="6857999"/>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7B84A045-2D43-9859-3469-84775715D19E}"/>
              </a:ext>
            </a:extLst>
          </p:cNvPr>
          <p:cNvSpPr>
            <a:spLocks noGrp="1"/>
          </p:cNvSpPr>
          <p:nvPr>
            <p:ph type="title"/>
          </p:nvPr>
        </p:nvSpPr>
        <p:spPr>
          <a:xfrm>
            <a:off x="838200" y="1848660"/>
            <a:ext cx="10515600" cy="2972720"/>
          </a:xfrm>
        </p:spPr>
        <p:txBody>
          <a:bodyPr vert="horz">
            <a:normAutofit/>
          </a:bodyPr>
          <a:lstStyle/>
          <a:p>
            <a:pPr algn="ctr"/>
            <a:r>
              <a:rPr lang="en-US" sz="4800" dirty="0">
                <a:solidFill>
                  <a:schemeClr val="bg1"/>
                </a:solidFill>
              </a:rPr>
              <a:t>Adding New Solutions</a:t>
            </a:r>
          </a:p>
        </p:txBody>
      </p:sp>
      <p:pic>
        <p:nvPicPr>
          <p:cNvPr id="18435" name="Picture 3" descr="Institute for Manufacturing | University of Cambridge">
            <a:extLst>
              <a:ext uri="{FF2B5EF4-FFF2-40B4-BE49-F238E27FC236}">
                <a16:creationId xmlns:a16="http://schemas.microsoft.com/office/drawing/2014/main" id="{E5547B84-768C-3A1B-B879-7E1E76A48204}"/>
              </a:ext>
            </a:extLst>
          </p:cNvPr>
          <p:cNvPicPr>
            <a:picLocks noChangeAspect="1" noChangeArrowheads="1"/>
          </p:cNvPicPr>
          <p:nvPr/>
        </p:nvPicPr>
        <p:blipFill rotWithShape="1">
          <a:blip r:embed="rId5">
            <a:biLevel thresh="25000"/>
            <a:extLst>
              <a:ext uri="{28A0092B-C50C-407E-A947-70E740481C1C}">
                <a14:useLocalDpi xmlns:a14="http://schemas.microsoft.com/office/drawing/2010/main" val="0"/>
              </a:ext>
            </a:extLst>
          </a:blip>
          <a:srcRect t="25403" b="26051"/>
          <a:stretch/>
        </p:blipFill>
        <p:spPr bwMode="auto">
          <a:xfrm>
            <a:off x="536448" y="5867400"/>
            <a:ext cx="2427732" cy="58928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5C967D08-D55B-A73E-A52E-9CA065C68906}"/>
              </a:ext>
            </a:extLst>
          </p:cNvPr>
          <p:cNvGrpSpPr/>
          <p:nvPr/>
        </p:nvGrpSpPr>
        <p:grpSpPr>
          <a:xfrm>
            <a:off x="8664915" y="5867400"/>
            <a:ext cx="2990637" cy="585216"/>
            <a:chOff x="8513075" y="5905500"/>
            <a:chExt cx="2990637" cy="585216"/>
          </a:xfrm>
        </p:grpSpPr>
        <p:pic>
          <p:nvPicPr>
            <p:cNvPr id="1026" name="Picture 2" descr="University of Cambridge Logo PNG Transparent (1) – Brands Logos">
              <a:extLst>
                <a:ext uri="{FF2B5EF4-FFF2-40B4-BE49-F238E27FC236}">
                  <a16:creationId xmlns:a16="http://schemas.microsoft.com/office/drawing/2014/main" id="{1BD20823-6056-2FB5-06F7-22B93171AE7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niversity of Cambridge Logo PNG Transparent (1) – Brands Logos">
              <a:extLst>
                <a:ext uri="{FF2B5EF4-FFF2-40B4-BE49-F238E27FC236}">
                  <a16:creationId xmlns:a16="http://schemas.microsoft.com/office/drawing/2014/main" id="{5479F910-6BE2-7A38-5D89-78B2F3799BA7}"/>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549458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248860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A08E12C5-C0E6-293A-980F-4912843DCDAE}"/>
              </a:ext>
            </a:extLst>
          </p:cNvPr>
          <p:cNvPicPr>
            <a:picLocks noChangeAspect="1"/>
          </p:cNvPicPr>
          <p:nvPr/>
        </p:nvPicPr>
        <p:blipFill>
          <a:blip r:embed="rId5"/>
          <a:stretch>
            <a:fillRect/>
          </a:stretch>
        </p:blipFill>
        <p:spPr>
          <a:xfrm>
            <a:off x="1527048" y="1443955"/>
            <a:ext cx="8429989"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8</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27048" y="2949667"/>
            <a:ext cx="1307592" cy="25987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2C3052F-18DA-CF43-89D6-0E851110616B}"/>
              </a:ext>
            </a:extLst>
          </p:cNvPr>
          <p:cNvSpPr/>
          <p:nvPr/>
        </p:nvSpPr>
        <p:spPr>
          <a:xfrm>
            <a:off x="3014472" y="2178523"/>
            <a:ext cx="560832" cy="253781"/>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CED41CC1-80ED-C112-F7C8-D3094614299F}"/>
              </a:ext>
            </a:extLst>
          </p:cNvPr>
          <p:cNvSpPr txBox="1"/>
          <p:nvPr/>
        </p:nvSpPr>
        <p:spPr>
          <a:xfrm>
            <a:off x="841573" y="4306328"/>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Click on Solutions Menu and then on the Create Button</a:t>
            </a:r>
          </a:p>
        </p:txBody>
      </p:sp>
    </p:spTree>
    <p:extLst>
      <p:ext uri="{BB962C8B-B14F-4D97-AF65-F5344CB8AC3E}">
        <p14:creationId xmlns:p14="http://schemas.microsoft.com/office/powerpoint/2010/main" val="37148092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1444713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A158403-20EF-C8FF-E6EA-6AFC62DA49A2}"/>
              </a:ext>
            </a:extLst>
          </p:cNvPr>
          <p:cNvPicPr>
            <a:picLocks noChangeAspect="1"/>
          </p:cNvPicPr>
          <p:nvPr/>
        </p:nvPicPr>
        <p:blipFill>
          <a:blip r:embed="rId5"/>
          <a:stretch>
            <a:fillRect/>
          </a:stretch>
        </p:blipFill>
        <p:spPr>
          <a:xfrm>
            <a:off x="1719018" y="1619468"/>
            <a:ext cx="8373323"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9</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847088" y="3218687"/>
            <a:ext cx="8245252" cy="908231"/>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CED41CC1-80ED-C112-F7C8-D3094614299F}"/>
              </a:ext>
            </a:extLst>
          </p:cNvPr>
          <p:cNvSpPr txBox="1"/>
          <p:nvPr/>
        </p:nvSpPr>
        <p:spPr>
          <a:xfrm>
            <a:off x="7068637" y="4571504"/>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dd name of the solution, select the supplier and add a description. Observe all the tabs at the bottom.</a:t>
            </a:r>
          </a:p>
        </p:txBody>
      </p:sp>
    </p:spTree>
    <p:extLst>
      <p:ext uri="{BB962C8B-B14F-4D97-AF65-F5344CB8AC3E}">
        <p14:creationId xmlns:p14="http://schemas.microsoft.com/office/powerpoint/2010/main" val="11971400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D8F36AD7626F544AB048F001ADB0097" ma:contentTypeVersion="2" ma:contentTypeDescription="Create a new document." ma:contentTypeScope="" ma:versionID="b3c2f826ca9f6e1f42f1ff3786638557">
  <xsd:schema xmlns:xsd="http://www.w3.org/2001/XMLSchema" xmlns:xs="http://www.w3.org/2001/XMLSchema" xmlns:p="http://schemas.microsoft.com/office/2006/metadata/properties" xmlns:ns2="0c549462-cc8b-431e-81fa-c29865dd661c" targetNamespace="http://schemas.microsoft.com/office/2006/metadata/properties" ma:root="true" ma:fieldsID="dd9c130fb07183ee17d0c92a74d552c6" ns2:_="">
    <xsd:import namespace="0c549462-cc8b-431e-81fa-c29865dd661c"/>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549462-cc8b-431e-81fa-c29865dd66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066F88-7E47-4C7A-89EA-D844C39E5135}">
  <ds:schemaRefs>
    <ds:schemaRef ds:uri="http://purl.org/dc/elements/1.1/"/>
    <ds:schemaRef ds:uri="http://purl.org/dc/terms/"/>
    <ds:schemaRef ds:uri="http://www.w3.org/XML/1998/namespace"/>
    <ds:schemaRef ds:uri="http://schemas.openxmlformats.org/package/2006/metadata/core-properties"/>
    <ds:schemaRef ds:uri="http://schemas.microsoft.com/office/2006/documentManagement/types"/>
    <ds:schemaRef ds:uri="http://schemas.microsoft.com/office/2006/metadata/properties"/>
    <ds:schemaRef ds:uri="http://schemas.microsoft.com/office/infopath/2007/PartnerControls"/>
    <ds:schemaRef ds:uri="0c549462-cc8b-431e-81fa-c29865dd661c"/>
    <ds:schemaRef ds:uri="http://purl.org/dc/dcmitype/"/>
  </ds:schemaRefs>
</ds:datastoreItem>
</file>

<file path=customXml/itemProps2.xml><?xml version="1.0" encoding="utf-8"?>
<ds:datastoreItem xmlns:ds="http://schemas.openxmlformats.org/officeDocument/2006/customXml" ds:itemID="{86DCD679-FE62-4866-B976-9BA8F4D20C37}">
  <ds:schemaRefs>
    <ds:schemaRef ds:uri="0c549462-cc8b-431e-81fa-c29865dd661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5109273-802D-4C24-93F8-27164F0C68F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2882</TotalTime>
  <Words>885</Words>
  <Application>Microsoft Office PowerPoint</Application>
  <PresentationFormat>Widescreen</PresentationFormat>
  <Paragraphs>139</Paragraphs>
  <Slides>45</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1" baseType="lpstr">
      <vt:lpstr>Arial</vt:lpstr>
      <vt:lpstr>Calibri</vt:lpstr>
      <vt:lpstr>Calibri Light</vt:lpstr>
      <vt:lpstr>Montserrat</vt:lpstr>
      <vt:lpstr>Office Theme</vt:lpstr>
      <vt:lpstr>think-cell Slide</vt:lpstr>
      <vt:lpstr>Overall Functionalities Access</vt:lpstr>
      <vt:lpstr>Login into the Platform</vt:lpstr>
      <vt:lpstr>Log in Platform</vt:lpstr>
      <vt:lpstr>Adding New Suppliers</vt:lpstr>
      <vt:lpstr>Adding a new Supplier</vt:lpstr>
      <vt:lpstr>Adding a new Supplier</vt:lpstr>
      <vt:lpstr>Adding New Solutions</vt:lpstr>
      <vt:lpstr>Adding a new Solution</vt:lpstr>
      <vt:lpstr>Adding a new Solution</vt:lpstr>
      <vt:lpstr>Adding a new Solution</vt:lpstr>
      <vt:lpstr>Adding a new Solution</vt:lpstr>
      <vt:lpstr>Adding a new Solution</vt:lpstr>
      <vt:lpstr>Adding a new Solution</vt:lpstr>
      <vt:lpstr>Adding a new Solution</vt:lpstr>
      <vt:lpstr>Adding a new Solution</vt:lpstr>
      <vt:lpstr>Adding a new Solution</vt:lpstr>
      <vt:lpstr>Adding a new Solution</vt:lpstr>
      <vt:lpstr>Adding a new Solution</vt:lpstr>
      <vt:lpstr>Adding a new Solution</vt:lpstr>
      <vt:lpstr>Adding New Skills</vt:lpstr>
      <vt:lpstr>Adding a new Skill</vt:lpstr>
      <vt:lpstr>Adding a new Solution</vt:lpstr>
      <vt:lpstr>Adding New Tags</vt:lpstr>
      <vt:lpstr>Adding a new Tag</vt:lpstr>
      <vt:lpstr>Adding a new Functionality</vt:lpstr>
      <vt:lpstr>Adding New Functionalities</vt:lpstr>
      <vt:lpstr>Adding a new Functionality</vt:lpstr>
      <vt:lpstr>Adding a new Functionality</vt:lpstr>
      <vt:lpstr>Adding New SMEs</vt:lpstr>
      <vt:lpstr>Adding a new SME</vt:lpstr>
      <vt:lpstr>Adding a new SME</vt:lpstr>
      <vt:lpstr>Adding a new SME</vt:lpstr>
      <vt:lpstr>Adding a new SME</vt:lpstr>
      <vt:lpstr>Adding a new SME</vt:lpstr>
      <vt:lpstr>Adding New Searches</vt:lpstr>
      <vt:lpstr>Adding a new Search</vt:lpstr>
      <vt:lpstr>Adding a new Search</vt:lpstr>
      <vt:lpstr>Adding a new Search</vt:lpstr>
      <vt:lpstr>Adding a new Search</vt:lpstr>
      <vt:lpstr>Adding a new Search</vt:lpstr>
      <vt:lpstr>Adding a new Search</vt:lpstr>
      <vt:lpstr>Adding a new Search</vt:lpstr>
      <vt:lpstr>Adding a new Search</vt:lpstr>
      <vt:lpstr>Adding a new Search</vt:lpstr>
      <vt:lpstr>Adding a new Search</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is Fernando Hernández Palacios</dc:creator>
  <cp:lastModifiedBy>Paco Treviño</cp:lastModifiedBy>
  <cp:revision>3</cp:revision>
  <cp:lastPrinted>2023-07-27T09:02:52Z</cp:lastPrinted>
  <dcterms:created xsi:type="dcterms:W3CDTF">2020-12-07T17:55:16Z</dcterms:created>
  <dcterms:modified xsi:type="dcterms:W3CDTF">2024-06-27T11:5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8F36AD7626F544AB048F001ADB0097</vt:lpwstr>
  </property>
  <property fmtid="{D5CDD505-2E9C-101B-9397-08002B2CF9AE}" pid="3" name="Order">
    <vt:r8>4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ies>
</file>